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ink/ink14.xml" ContentType="application/inkml+xml"/>
  <Override PartName="/ppt/ink/ink15.xml" ContentType="application/inkml+xml"/>
  <Override PartName="/ppt/ink/ink16.xml" ContentType="application/inkml+xml"/>
  <Override PartName="/ppt/ink/ink17.xml" ContentType="application/inkml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4" r:id="rId1"/>
  </p:sldMasterIdLst>
  <p:notesMasterIdLst>
    <p:notesMasterId r:id="rId14"/>
  </p:notesMasterIdLst>
  <p:sldIdLst>
    <p:sldId id="258" r:id="rId2"/>
    <p:sldId id="266" r:id="rId3"/>
    <p:sldId id="267" r:id="rId4"/>
    <p:sldId id="259" r:id="rId5"/>
    <p:sldId id="269" r:id="rId6"/>
    <p:sldId id="260" r:id="rId7"/>
    <p:sldId id="268" r:id="rId8"/>
    <p:sldId id="261" r:id="rId9"/>
    <p:sldId id="262" r:id="rId10"/>
    <p:sldId id="263" r:id="rId11"/>
    <p:sldId id="264" r:id="rId12"/>
    <p:sldId id="265" r:id="rId13"/>
  </p:sldIdLst>
  <p:sldSz cx="18288000" cy="10287000"/>
  <p:notesSz cx="6858000" cy="9144000"/>
  <p:embeddedFontLst>
    <p:embeddedFont>
      <p:font typeface="Candara" panose="020E0502030303020204" pitchFamily="34" charset="0"/>
      <p:regular r:id="rId15"/>
      <p:bold r:id="rId16"/>
      <p:italic r:id="rId17"/>
      <p:boldItalic r:id="rId18"/>
    </p:embeddedFont>
    <p:embeddedFont>
      <p:font typeface="Constantia" panose="02030602050306030303" pitchFamily="18" charset="0"/>
      <p:regular r:id="rId19"/>
      <p:bold r:id="rId20"/>
      <p:italic r:id="rId21"/>
      <p:boldItalic r:id="rId22"/>
    </p:embeddedFont>
    <p:embeddedFont>
      <p:font typeface="JasmineUPC" panose="02020603050405020304" pitchFamily="18" charset="-34"/>
      <p:regular r:id="rId23"/>
      <p:bold r:id="rId24"/>
      <p:italic r:id="rId25"/>
      <p:boldItalic r:id="rId26"/>
    </p:embeddedFont>
    <p:embeddedFont>
      <p:font typeface="Roboto" panose="02000000000000000000" pitchFamily="2" charset="0"/>
      <p:regular r:id="rId27"/>
      <p:bold r:id="rId28"/>
      <p:italic r:id="rId29"/>
      <p:boldItalic r:id="rId30"/>
    </p:embeddedFont>
  </p:embeddedFontLst>
  <p:custDataLst>
    <p:tags r:id="rId31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655" userDrawn="1">
          <p15:clr>
            <a:srgbClr val="000000"/>
          </p15:clr>
        </p15:guide>
        <p15:guide id="2" pos="586">
          <p15:clr>
            <a:srgbClr val="000000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8500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A720816-25E3-4680-9927-420201CB8FF1}" v="46" dt="2024-10-01T15:16:05.725"/>
    <p1510:client id="{D9352184-986B-5BC6-B3A6-0A35CEF42CA5}" v="229" dt="2024-10-02T14:30:29.006"/>
    <p1510:client id="{E6863D73-7004-4B55-8E17-4F68037948B2}" v="1" dt="2024-10-02T14:36:47.038"/>
    <p1510:client id="{F3733CCA-A944-26EA-3723-354F18B01AF9}" v="388" dt="2024-10-01T14:42:04.00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655"/>
        <p:guide pos="586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font" Target="fonts/font4.fntdata"/><Relationship Id="rId26" Type="http://schemas.openxmlformats.org/officeDocument/2006/relationships/font" Target="fonts/font12.fntdata"/><Relationship Id="rId3" Type="http://schemas.openxmlformats.org/officeDocument/2006/relationships/slide" Target="slides/slide2.xml"/><Relationship Id="rId21" Type="http://schemas.openxmlformats.org/officeDocument/2006/relationships/font" Target="fonts/font7.fntdata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3.fntdata"/><Relationship Id="rId25" Type="http://schemas.openxmlformats.org/officeDocument/2006/relationships/font" Target="fonts/font11.fntdata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29" Type="http://schemas.openxmlformats.org/officeDocument/2006/relationships/font" Target="fonts/font15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10.fntdata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font" Target="fonts/font1.fntdata"/><Relationship Id="rId23" Type="http://schemas.openxmlformats.org/officeDocument/2006/relationships/font" Target="fonts/font9.fntdata"/><Relationship Id="rId28" Type="http://schemas.openxmlformats.org/officeDocument/2006/relationships/font" Target="fonts/font14.fntdata"/><Relationship Id="rId36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font" Target="fonts/font5.fntdata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8.fntdata"/><Relationship Id="rId27" Type="http://schemas.openxmlformats.org/officeDocument/2006/relationships/font" Target="fonts/font13.fntdata"/><Relationship Id="rId30" Type="http://schemas.openxmlformats.org/officeDocument/2006/relationships/font" Target="fonts/font16.fntdata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0-01T14:42:40.460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7328 19033 16383 0 0,'0'-7'0'0'0,"7"-2"0"0"0,9 0 0 0 0,9 2 0 0 0,8 2 0 0 0,4 2 0 0 0,4 1 0 0 0,1 1 0 0 0,8 1 0 0 0,3 1 0 0 0,5-1 0 0 0,8 1 0 0 0,6-1 0 0 0,13 0 0 0 0,5 0 0 0 0,8 7 0 0 0,9 3 0 0 0,14-1 0 0 0,8-2 0 0 0,3-2 0 0 0,6-2 0 0 0,9-1 0 0 0,0-2 0 0 0,-4 7 0 0 0,-5 2 0 0 0,-6 0 0 0 0,-3-2 0 0 0,-3-3 0 0 0,-2-1 0 0 0,-8-1 0 0 0,-17-2 0 0 0,-11 0 0 0 0,-13 0 0 0 0,-13 0 0 0 0,-31-1 0 0 0,-34 1 0 0 0,-31 0 0 0 0,-38 0 0 0 0,-35-7 0 0 0,-33-10 0 0 0,-29-8 0 0 0,-21 0 0 0 0,-12-3 0 0 0,-15 3 0 0 0,-5 6 0 0 0,-14-1 0 0 0,-9 3 0 0 0,2 5 0 0 0,8 4 0 0 0,15-4 0 0 0,17 1 0 0 0,16 1 0 0 0,24 4 0 0 0,20 1 0 0 0,20 3 0 0 0,17 1 0 0 0,19 1 0 0 0,32 0 0 0 0,32 1 0 0 0,27-1 0 0 0,19 1 0 0 0,21-1 0 0 0,16 0 0 0 0,13 0 0 0 0,7 0 0 0 0,11 0 0 0 0,11 0 0 0 0,10 0 0 0 0,13 0 0 0 0,14 0 0 0 0,11 0 0 0 0,9 0 0 0 0,4 0 0 0 0,3 0 0 0 0,-5 0 0 0 0,-3 0 0 0 0,0 0 0 0 0,-5 0 0 0 0,-8 0 0 0 0,-8 0 0 0 0,-6 0 0 0 0,-11 0 0 0 0,-12 0 0 0 0,-4 0 0 0 0,-12 0 0 0 0,-7 0 0 0 0,-12 0 0 0 0,-11 0 0 0 0,-23 0 0 0 0,-26 0 0 0 0,-21 0 0 0 0,-23 0 0 0 0,-29 0 0 0 0,-24 0 0 0 0,-19 0 0 0 0,-20 0 0 0 0,-24 0 0 0 0,-22 0 0 0 0,-25 0 0 0 0,-28 0 0 0 0,-18 0 0 0 0,-11 0 0 0 0,-5 0 0 0 0,14 0 0 0 0,19 0 0 0 0,20-7 0 0 0,24-2 0 0 0,20 0 0 0 0,17 2 0 0 0,18 2 0 0 0,24 2 0 0 0,21 1 0 0 0,18 1 0 0 0,25 1 0 0 0,27 1 0 0 0,21-1 0 0 0,23 0 0 0 0,27 1 0 0 0,23-1 0 0 0,33 0 0 0 0,24 0 0 0 0,23 0 0 0 0,25 0 0 0 0,23 0 0 0 0,17 0 0 0 0,12 0 0 0 0,6 0 0 0 0,10 0 0 0 0,11 0 0 0 0,8 0 0 0 0,7 0 0 0 0,3 0 0 0 0,-4 0 0 0 0,-16 0 0 0 0,-18 0 0 0 0,-16 0 0 0 0,-13 0 0 0 0,-23 0 0 0 0,-23 0 0 0 0,-14 0 0 0 0,-20 0 0 0 0,-19 0 0 0 0,-17 0 0 0 0,-19 0 0 0 0,-10 0 0 0 0,-10 0 0 0 0,-10 0 0 0 0,-21 0 0 0 0,-30 0 0 0 0,-30 0 0 0 0,-25 0 0 0 0,-17 0 0 0 0,-18 0 0 0 0,-16 0 0 0 0,-12 0 0 0 0,-14 0 0 0 0,-13 0 0 0 0,-4 0 0 0 0,1 0 0 0 0,-2 0 0 0 0,3 0 0 0 0,10 0 0 0 0,16 0 0 0 0,12 0 0 0 0,18 0 0 0 0,9 0 0 0 0,11 0 0 0 0,31 0 0 0 0,35 0 0 0 0,40 0 0 0 0,26 0 0 0 0,24 0 0 0 0,17 0 0 0 0,20 0 0 0 0,22 0 0 0 0,22 0 0 0 0,9 0 0 0 0,3 0 0 0 0,-1 0 0 0 0,-4 0 0 0 0,-4 0 0 0 0,-3 0 0 0 0,-3 0 0 0 0,-1 0 0 0 0,-8 0 0 0 0,-10 0 0 0 0,-17 0 0 0 0,-22 0 0 0 0,-17 0 0 0 0,-16 0 0 0 0,-15 0 0 0 0,-24 7 0 0 0,-26 2 0 0 0,-28 0 0 0 0,-26 5 0 0 0,-26 1 0 0 0,-16 4 0 0 0,-14-1 0 0 0,-18 4 0 0 0,-11-3 0 0 0,-11 4 0 0 0,-18-3 0 0 0,-16 2 0 0 0,0-2 0 0 0,1-5 0 0 0,16 2 0 0 0,20-2 0 0 0,13 4 0 0 0,12-1 0 0 0,19-5 0 0 0,18-3 0 0 0,14-4 0 0 0,25-3 0 0 0,25-2 0 0 0,21-2 0 0 0,23 1 0 0 0,20-1 0 0 0,21 0 0 0 0,13-6 0 0 0,11-3 0 0 0,11-6 0 0 0,14-1 0 0 0,8-4 0 0 0,1 1 0 0 0,8 5 0 0 0,-1 4 0 0 0,-2 4 0 0 0,-4 3 0 0 0,-10 3 0 0 0,-6 1 0 0 0,-9 1 0 0 0,-8 0 0 0 0,-8 0 0 0 0,-13-1 0 0 0,-12 1 0 0 0,-12-1 0 0 0,-7 0 0 0 0,-20 0 0 0 0,-28 0 0 0 0,-29 0 0 0 0,-38 0 0 0 0,-28 0 0 0 0,-26 0 0 0 0,-28 0 0 0 0,-24 0 0 0 0,-11 0 0 0 0,-9 0 0 0 0,0 0 0 0 0,-2 0 0 0 0,-4 0 0 0 0,4 0 0 0 0,7 0 0 0 0,1 0 0 0 0,3 0 0 0 0,19 0 0 0 0,23 0 0 0 0,22 0 0 0 0,24 0 0 0 0,21 0 0 0 0,30 0 0 0 0,37 0 0 0 0,33 0 0 0 0,34 0 0 0 0,20 0 0 0 0,25 0 0 0 0,22 0 0 0 0,18 0 0 0 0,13 0 0 0 0,6 0 0 0 0,5 0 0 0 0,1 0 0 0 0,13 0 0 0 0,4 0 0 0 0,6 0 0 0 0,4 0 0 0 0,-3 0 0 0 0,-6 0 0 0 0,-21 0 0 0 0,-12 0 0 0 0,-17 0 0 0 0,-11 0 0 0 0,-14 0 0 0 0,-12 0 0 0 0,-15 0 0 0 0,-30 0 0 0 0,-39 0 0 0 0,-36 0 0 0 0,-42 0 0 0 0,-26 0 0 0 0,-32 0 0 0 0,-25 0 0 0 0,-22 0 0 0 0,-26 0 0 0 0,-21 0 0 0 0,-18 0 0 0 0,-10 0 0 0 0,7 0 0 0 0,8 0 0 0 0,22 0 0 0 0,24 0 0 0 0,22 0 0 0 0,17 7 0 0 0,18 3 0 0 0,23-2 0 0 0,22 0 0 0 0,16-3 0 0 0,27-2 0 0 0,33-1 0 0 0,37-2 0 0 0,28 0 0 0 0,30 0 0 0 0,21 0 0 0 0,19-1 0 0 0,15 1 0 0 0,17 0 0 0 0,16-1 0 0 0,12 1 0 0 0,15 0 0 0 0,15 0 0 0 0,4 0 0 0 0,-1 0 0 0 0,2 7 0 0 0,-9 3 0 0 0,-13-1 0 0 0,-8-2 0 0 0,-15-2 0 0 0,-19-2 0 0 0,-22-1 0 0 0,-22 5 0 0 0,-17 3 0 0 0,-34-2 0 0 0,-48-1 0 0 0,-50-2 0 0 0,-41-2 0 0 0,-36-2 0 0 0,-28 0 0 0 0,-27-1 0 0 0,-21-1 0 0 0,-7 1 0 0 0,-14 0 0 0 0,-7-1 0 0 0,-4 1 0 0 0,8 0 0 0 0,10 0 0 0 0,10 0 0 0 0,23 0 0 0 0,18 0 0 0 0,13 0 0 0 0,15 0 0 0 0,20 0 0 0 0,12 0 0 0 0,15 0 0 0 0,25 0 0 0 0,34 0 0 0 0,27 0 0 0 0,24 0 0 0 0,20 0 0 0 0,13 0 0 0 0,15 0 0 0 0,15 0 0 0 0,16 0 0 0 0,17 0 0 0 0,14 0 0 0 0,1 0 0 0 0,-3 0 0 0 0,-6 0 0 0 0,-6 0 0 0 0,-5 0 0 0 0,-11 0 0 0 0,-12 0 0 0 0,-10 0 0 0 0,-15 0 0 0 0,-14 0 0 0 0,-27 0 0 0 0,-33 0 0 0 0,-40 0 0 0 0,-36 0 0 0 0,-27 0 0 0 0,-19 0 0 0 0,-11 7 0 0 0,-13 2 0 0 0,-10 0 0 0 0,-10-2 0 0 0,-4 5 0 0 0,-5 1 0 0 0,6-2 0 0 0,9-4 0 0 0,16 5 0 0 0,17 1 0 0 0,15-3 0 0 0,17-3 0 0 0,17-2 0 0 0,13 5 0 0 0,23 0 0 0 0,24-1 0 0 0,27-2 0 0 0,26-2 0 0 0,11-3 0 0 0,11 0 0 0 0,15-2 0 0 0,15 0 0 0 0,12-1 0 0 0,9 1 0 0 0,5-1 0 0 0,-4 1 0 0 0,-8 0 0 0 0,-8 0 0 0 0,-8 0 0 0 0,1 0 0 0 0,-9 0 0 0 0,-4 0 0 0 0,-10 0 0 0 0,-9 0 0 0 0,-10 0 0 0 0,-19 0 0 0 0,-24 7 0 0 0,-20 2 0 0 0,-15 0 0 0 0,-18-2 0 0 0,-8-2 0 0 0,-10 6 0 0 0,-1 0 0 0 0,3 5 0 0 0,4 1 0 0 0,5-4 0 0 0,3-3 0 0 0,11-3 0 0 0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0-01T14:42:40.475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7285 18774 16383 0 0,'7'0'0'0'0,"9"0"0"0"0,10 0 0 0 0,6 0 0 0 0,6 0 0 0 0,9 0 0 0 0,12 0 0 0 0,9 0 0 0 0,8 0 0 0 0,11 0 0 0 0,12 0 0 0 0,11 0 0 0 0,14 0 0 0 0,21 0 0 0 0,28 0 0 0 0,27 0 0 0 0,14 0 0 0 0,13 0 0 0 0,3 0 0 0 0,4 0 0 0 0,12 0 0 0 0,-1 0 0 0 0,0 0 0 0 0,-14 0 0 0 0,-11 0 0 0 0,-8 0 0 0 0,-12 0 0 0 0,-19 0 0 0 0,-19 0 0 0 0,-23 0 0 0 0,-14 0 0 0 0,-15 0 0 0 0,-11 0 0 0 0,-9 0 0 0 0,-13 0 0 0 0,-12 0 0 0 0,-32 0 0 0 0,-41 0 0 0 0,-42 0 0 0 0,-39 0 0 0 0,-41 0 0 0 0,-46 0 0 0 0,-43 0 0 0 0,-40 0 0 0 0,-46-7 0 0 0,-28-2 0 0 0,-19 0 0 0 0,-14 2 0 0 0,-8 2 0 0 0,12 2 0 0 0,17 1 0 0 0,26 1 0 0 0,31 1 0 0 0,31 1 0 0 0,30-1 0 0 0,33 0 0 0 0,28 1 0 0 0,29-1 0 0 0,30 0 0 0 0,27 0 0 0 0,33 0 0 0 0,39 0 0 0 0,36 0 0 0 0,32 0 0 0 0,36 0 0 0 0,43 0 0 0 0,32 0 0 0 0,37 0 0 0 0,32 0 0 0 0,31 0 0 0 0,33 0 0 0 0,21 0 0 0 0,25 0 0 0 0,23 0 0 0 0,25 0 0 0 0,16 0 0 0 0,-8 0 0 0 0,-15 0 0 0 0,-13 0 0 0 0,-27 0 0 0 0,-25 0 0 0 0,-32 0 0 0 0,-32 0 0 0 0,-32 0 0 0 0,-27 0 0 0 0,-27 0 0 0 0,-36 0 0 0 0,-29 0 0 0 0,-39 0 0 0 0,-47 0 0 0 0,-55 7 0 0 0,-50 2 0 0 0,-41 0 0 0 0,-33 6 0 0 0,-41-1 0 0 0,-36 5 0 0 0,-27-1 0 0 0,-27-3 0 0 0,-34-5 0 0 0,-48-3 0 0 0,-37-4 0 0 0,-36-2 0 0 0,-26 0 0 0 0,-32 5 0 0 0,-30 2 0 0 0,5 8 0 0 0,21 6 0 0 0,33 1 0 0 0,47 3 0 0 0,61-3 0 0 0,56 2 0 0 0,52-4 0 0 0,55-4 0 0 0,54-7 0 0 0,66-4 0 0 0,66-3 0 0 0,58-2 0 0 0,55-2 0 0 0,45 0 0 0 0,48 0 0 0 0,46 0 0 0 0,32 1 0 0 0,25-1 0 0 0,19 1 0 0 0,26 0 0 0 0,24 0 0 0 0,20 0 0 0 0,36 0 0 0 0,24 0 0 0 0,-2 0 0 0 0,1 0 0 0 0,2 0 0 0 0,-5 0 0 0 0,-28 0 0 0 0,-36 0 0 0 0,-33 0 0 0 0,-40 0 0 0 0,-44 0 0 0 0,-38 0 0 0 0,-43 7 0 0 0,-38 2 0 0 0,-36 0 0 0 0,-30-2 0 0 0,-34-2 0 0 0,-52-1 0 0 0,-60-3 0 0 0,-60 0 0 0 0,-50-1 0 0 0,-50 0 0 0 0,-42-1 0 0 0,-32 1 0 0 0,-40 0 0 0 0,-32-1 0 0 0,-16 1 0 0 0,-17 0 0 0 0,-10 0 0 0 0,3 0 0 0 0,24 0 0 0 0,14 0 0 0 0,17 0 0 0 0,27 0 0 0 0,28 0 0 0 0,31 0 0 0 0,42 0 0 0 0,45 0 0 0 0,42 0 0 0 0,52 0 0 0 0,57 0 0 0 0,54 0 0 0 0,54 0 0 0 0,49 0 0 0 0,46 0 0 0 0,38 0 0 0 0,39 0 0 0 0,28 0 0 0 0,31 0 0 0 0,34 0 0 0 0,30 0 0 0 0,30 0 0 0 0,25 0 0 0 0,18 0 0 0 0,4 0 0 0 0,-24 0 0 0 0,-27 7 0 0 0,-24 3 0 0 0,-33-2 0 0 0,-38 7 0 0 0,-34 6 0 0 0,-42 0 0 0 0,-29-3 0 0 0,-41 2 0 0 0,-39-2 0 0 0,-32-5 0 0 0,-36-4 0 0 0,-46-3 0 0 0,-52-4 0 0 0,-58-1 0 0 0,-59-1 0 0 0,-50-1 0 0 0,-50 0 0 0 0,-43 0 0 0 0,-23 1 0 0 0,-25-1 0 0 0,-7 1 0 0 0,4 0 0 0 0,14 0 0 0 0,18 0 0 0 0,23 0 0 0 0,30 0 0 0 0,41 0 0 0 0,40 0 0 0 0,47 0 0 0 0,50-7 0 0 0,48-2 0 0 0,49 0 0 0 0,45-5 0 0 0,44-1 0 0 0,36 3 0 0 0,32 3 0 0 0,33 4 0 0 0,27 1 0 0 0,19 3 0 0 0,13 1 0 0 0,-1 0 0 0 0,2 1 0 0 0,7-1 0 0 0,3 1 0 0 0,-14-1 0 0 0,-5 1 0 0 0,-16-1 0 0 0,-23 0 0 0 0,-25 0 0 0 0,-20 0 0 0 0,-22 0 0 0 0,-26 0 0 0 0,-24 0 0 0 0,-19 0 0 0 0,-19 0 0 0 0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0-01T14:42:40.476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38735 4763 16383 0 0,'0'0'0'0'0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0-01T14:42:40.481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6747 18914 16383 0 0,'0'7'0'0'0,"7"2"0"0"0,9 0 0 0 0,9 5 0 0 0,8 0 0 0 0,11-1 0 0 0,6-5 0 0 0,9-2 0 0 0,14 4 0 0 0,24 1 0 0 0,16 5 0 0 0,16 0 0 0 0,16-2 0 0 0,10 2 0 0 0,7 0 0 0 0,18-4 0 0 0,13-3 0 0 0,17-4 0 0 0,7-2 0 0 0,8 5 0 0 0,-5 8 0 0 0,-12 2 0 0 0,-21-3 0 0 0,-14 4 0 0 0,-22-2 0 0 0,-16-4 0 0 0,-17-3 0 0 0,-14-5 0 0 0,-12 5 0 0 0,-13 0 0 0 0,-7-1 0 0 0,-8-2 0 0 0,-8-3 0 0 0,-7-2 0 0 0,-26 0 0 0 0,-44-2 0 0 0,-47 0 0 0 0,-47-8 0 0 0,-60-9 0 0 0,-71-15 0 0 0,-55-10 0 0 0,-27-5 0 0 0,-7-1 0 0 0,13 8 0 0 0,18 3 0 0 0,19 8 0 0 0,22 2 0 0 0,29 6 0 0 0,33 6 0 0 0,29 6 0 0 0,30 4 0 0 0,32 3 0 0 0,28 2 0 0 0,35 1 0 0 0,32 0 0 0 0,33 1 0 0 0,34-1 0 0 0,30-1 0 0 0,28 1 0 0 0,25-1 0 0 0,23 0 0 0 0,27 0 0 0 0,25 0 0 0 0,18 0 0 0 0,26 0 0 0 0,34 0 0 0 0,24 0 0 0 0,7 0 0 0 0,-8 0 0 0 0,-8 0 0 0 0,1 0 0 0 0,-10 0 0 0 0,-5 0 0 0 0,-10 0 0 0 0,-10 0 0 0 0,-23 0 0 0 0,-25 0 0 0 0,-30 0 0 0 0,-18 0 0 0 0,-18 0 0 0 0,-22 0 0 0 0,-19 0 0 0 0,-15 0 0 0 0,-17 0 0 0 0,-15 0 0 0 0,-13 0 0 0 0,-22 0 0 0 0,-38 0 0 0 0,-38 0 0 0 0,-41-7 0 0 0,-40-3 0 0 0,-34 1 0 0 0,-32 2 0 0 0,-33-5 0 0 0,-27 0 0 0 0,-41-6 0 0 0,-56-6 0 0 0,-37 1 0 0 0,-18 4 0 0 0,5-2 0 0 0,13 3 0 0 0,16 5 0 0 0,29 4 0 0 0,37 4 0 0 0,35 2 0 0 0,35 2 0 0 0,43 2 0 0 0,47 0 0 0 0,41 0 0 0 0,30-1 0 0 0,21 1 0 0 0,33-1 0 0 0,34 1 0 0 0,41-1 0 0 0,40 0 0 0 0,39 0 0 0 0,37 0 0 0 0,39 0 0 0 0,26 0 0 0 0,20 0 0 0 0,17 0 0 0 0,10-1 0 0 0,5 1 0 0 0,4 0 0 0 0,-1 0 0 0 0,0 0 0 0 0,-8 0 0 0 0,-10 7 0 0 0,-17 3 0 0 0,-18-1 0 0 0,-28 5 0 0 0,-29 0 0 0 0,-25 5 0 0 0,-25 0 0 0 0,-28-5 0 0 0,-18-3 0 0 0,-17-5 0 0 0,-13 5 0 0 0,-30-1 0 0 0,-35-1 0 0 0,-35-2 0 0 0,-40 4 0 0 0,-33 1 0 0 0,-25 5 0 0 0,-17-1 0 0 0,-16-2 0 0 0,-14 3 0 0 0,-17-1 0 0 0,-16-4 0 0 0,-5-4 0 0 0,1-2 0 0 0,17 3 0 0 0,24 2 0 0 0,14-2 0 0 0,22 4 0 0 0,30 1 0 0 0,21-3 0 0 0,33-2 0 0 0,42-4 0 0 0,46-2 0 0 0,40-2 0 0 0,36-1 0 0 0,38 0 0 0 0,22-1 0 0 0,26 1 0 0 0,17-1 0 0 0,16 1 0 0 0,5 0 0 0 0,8 0 0 0 0,-9-1 0 0 0,-6 1 0 0 0,-13 0 0 0 0,-12 8 0 0 0,-19 1 0 0 0,-10 0 0 0 0,-26-2 0 0 0,-22-2 0 0 0,-23-2 0 0 0,-42-1 0 0 0,-65-1 0 0 0,-71-1 0 0 0,-56-1 0 0 0,-46 1 0 0 0,-41-7 0 0 0,-23-3 0 0 0,-10 1 0 0 0,4 1 0 0 0,10 3 0 0 0,13 2 0 0 0,32 1 0 0 0,23 2 0 0 0,14 0 0 0 0,20 0 0 0 0,22 0 0 0 0,18 1 0 0 0,13-1 0 0 0,15 0 0 0 0,28 1 0 0 0,36-1 0 0 0,42 0 0 0 0,37 0 0 0 0,36 0 0 0 0,28 0 0 0 0,21 0 0 0 0,19 0 0 0 0,17 0 0 0 0,25 7 0 0 0,26 2 0 0 0,15 0 0 0 0,-1 5 0 0 0,-7 0 0 0 0,-18-2 0 0 0,-26-3 0 0 0,-26-3 0 0 0,-14-3 0 0 0,-21 6 0 0 0,-20 0 0 0 0,-15 0 0 0 0,-20-3 0 0 0,-37-1 0 0 0,-48-3 0 0 0,-52 0 0 0 0,-45-2 0 0 0,-26 0 0 0 0,-14 0 0 0 0,-11-1 0 0 0,-9 1 0 0 0,2 0 0 0 0,7-1 0 0 0,7 1 0 0 0,13 0 0 0 0,16 0 0 0 0,19 0 0 0 0,12 0 0 0 0,27 0 0 0 0,29 0 0 0 0,27 0 0 0 0,27 0 0 0 0,23 0 0 0 0,23 0 0 0 0,14 7 0 0 0,5 3 0 0 0,2-1 0 0 0,-2-2 0 0 0,-10-2 0 0 0,-12-2 0 0 0,-10-1 0 0 0,-17-2 0 0 0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0-01T14:42:40.482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7616 18831 16383 0 0,'7'0'0'0'0,"9"0"0"0"0,9 0 0 0 0,8 0 0 0 0,11 0 0 0 0,6 0 0 0 0,9 0 0 0 0,7 0 0 0 0,7 0 0 0 0,20 0 0 0 0,14 0 0 0 0,17 0 0 0 0,16 0 0 0 0,19 0 0 0 0,11 0 0 0 0,4 0 0 0 0,7 0 0 0 0,9 0 0 0 0,13 0 0 0 0,1 0 0 0 0,1 0 0 0 0,0 0 0 0 0,-7 0 0 0 0,-8 0 0 0 0,-9 0 0 0 0,-7 0 0 0 0,-13 0 0 0 0,-11 0 0 0 0,-19 0 0 0 0,-23 0 0 0 0,-17 0 0 0 0,-17 0 0 0 0,-13 0 0 0 0,-25-7 0 0 0,-32-2 0 0 0,-38 0 0 0 0,-34-6 0 0 0,-34 1 0 0 0,-27 2 0 0 0,-27-4 0 0 0,-36 1 0 0 0,-27 3 0 0 0,-26 3 0 0 0,-20 4 0 0 0,-7 2 0 0 0,7 2 0 0 0,7 1 0 0 0,6 1 0 0 0,17-1 0 0 0,13 1 0 0 0,17-1 0 0 0,15 8 0 0 0,19 1 0 0 0,17 0 0 0 0,28-1 0 0 0,22 4 0 0 0,21 0 0 0 0,31-1 0 0 0,33-3 0 0 0,25-3 0 0 0,27-2 0 0 0,21-2 0 0 0,22-1 0 0 0,20 0 0 0 0,22-1 0 0 0,18 1 0 0 0,21-1 0 0 0,26 1 0 0 0,32 0 0 0 0,13 0 0 0 0,17 0 0 0 0,10-1 0 0 0,3 2 0 0 0,-1-1 0 0 0,-8 0 0 0 0,-4 0 0 0 0,-17 0 0 0 0,-11 0 0 0 0,-15 0 0 0 0,-7 0 0 0 0,-1 7 0 0 0,-20 2 0 0 0,-18 0 0 0 0,-22-2 0 0 0,-19-2 0 0 0,-16-2 0 0 0,-17-1 0 0 0,-16-1 0 0 0,-12-1 0 0 0,-8 6 0 0 0,-19 3 0 0 0,-28 0 0 0 0,-35-2 0 0 0,-40-3 0 0 0,-34 0 0 0 0,-34-3 0 0 0,-27 0 0 0 0,-48-1 0 0 0,-43-8 0 0 0,-33-1 0 0 0,-29 0 0 0 0,-16 1 0 0 0,-6 3 0 0 0,7 1 0 0 0,18 3 0 0 0,16 0 0 0 0,10 1 0 0 0,13 0 0 0 0,19 1 0 0 0,20-1 0 0 0,23 0 0 0 0,21 8 0 0 0,23 1 0 0 0,21 0 0 0 0,22-2 0 0 0,27-2 0 0 0,24-1 0 0 0,20-3 0 0 0,27 0 0 0 0,33-1 0 0 0,31 0 0 0 0,25-1 0 0 0,25 1 0 0 0,19-1 0 0 0,21 1 0 0 0,32 0 0 0 0,27 0 0 0 0,30 0 0 0 0,24 0 0 0 0,20 7 0 0 0,10 2 0 0 0,2 0 0 0 0,13-2 0 0 0,7-1 0 0 0,6 4 0 0 0,-5 1 0 0 0,-2-2 0 0 0,0 6 0 0 0,-13-1 0 0 0,-10-3 0 0 0,-15 5 0 0 0,-13-1 0 0 0,-19-4 0 0 0,-24 5 0 0 0,-23-2 0 0 0,-26-2 0 0 0,-23 3 0 0 0,-17 0 0 0 0,-19-4 0 0 0,-8-2 0 0 0,-25-4 0 0 0,-27-3 0 0 0,-38-1 0 0 0,-37-1 0 0 0,-38 0 0 0 0,-30-1 0 0 0,-24 1 0 0 0,-28-1 0 0 0,-20 1 0 0 0,-12 0 0 0 0,-13-1 0 0 0,-5 1 0 0 0,2 7 0 0 0,-5 3 0 0 0,-5 6 0 0 0,-5 0 0 0 0,-5-2 0 0 0,-2 4 0 0 0,4-2 0 0 0,8 3 0 0 0,9 0 0 0 0,14 2 0 0 0,14-2 0 0 0,13 3 0 0 0,16-2 0 0 0,15-5 0 0 0,13-5 0 0 0,15 3 0 0 0,21 0 0 0 0,22-4 0 0 0,31-2 0 0 0,45-2 0 0 0,37-3 0 0 0,41-1 0 0 0,30-1 0 0 0,31-1 0 0 0,35 1 0 0 0,31-1 0 0 0,23 1 0 0 0,15-1 0 0 0,10 1 0 0 0,11 0 0 0 0,4 0 0 0 0,5 0 0 0 0,7 0 0 0 0,-2 0 0 0 0,-5 0 0 0 0,-6 0 0 0 0,-7 0 0 0 0,-25 0 0 0 0,-23 0 0 0 0,-27 0 0 0 0,-30 0 0 0 0,-27 0 0 0 0,-19 0 0 0 0,-22 0 0 0 0,-18 0 0 0 0,-26 0 0 0 0,-41 0 0 0 0,-42 0 0 0 0,-41 0 0 0 0,-41 0 0 0 0,-41 0 0 0 0,-35 0 0 0 0,-38 0 0 0 0,-70-7 0 0 0,-60-2 0 0 0,-36-7 0 0 0,-27-8 0 0 0,-17 1 0 0 0,-8 4 0 0 0,3 5 0 0 0,22 5 0 0 0,30 4 0 0 0,26 3 0 0 0,43 2 0 0 0,36 0 0 0 0,41 1 0 0 0,42 0 0 0 0,45 0 0 0 0,36 0 0 0 0,35-1 0 0 0,48 1 0 0 0,46-1 0 0 0,39 0 0 0 0,26 0 0 0 0,26 0 0 0 0,25-1 0 0 0,22 1 0 0 0,16 0 0 0 0,26 0 0 0 0,24 0 0 0 0,21 0 0 0 0,15 0 0 0 0,16 0 0 0 0,15 0 0 0 0,11 0 0 0 0,1 0 0 0 0,2 0 0 0 0,9 0 0 0 0,-2 0 0 0 0,0 0 0 0 0,-8 0 0 0 0,-9 0 0 0 0,-8 0 0 0 0,-14 0 0 0 0,-14 0 0 0 0,-18 0 0 0 0,-19 0 0 0 0,-21 0 0 0 0,-19 0 0 0 0,-24 0 0 0 0,-26 0 0 0 0,-24 0 0 0 0,-20 0 0 0 0,-28 0 0 0 0,-33 0 0 0 0,-31 0 0 0 0,-32 0 0 0 0,-19 0 0 0 0,-25 0 0 0 0,-22 0 0 0 0,-24 0 0 0 0,-23 0 0 0 0,-29 0 0 0 0,-30 0 0 0 0,-32 0 0 0 0,-12 0 0 0 0,-9 0 0 0 0,-4 0 0 0 0,-2 0 0 0 0,6 0 0 0 0,17 0 0 0 0,19 0 0 0 0,18 0 0 0 0,26 0 0 0 0,20 0 0 0 0,29 0 0 0 0,26 0 0 0 0,28 0 0 0 0,40 0 0 0 0,43 0 0 0 0,47 0 0 0 0,40 0 0 0 0,36 0 0 0 0,29 0 0 0 0,34 0 0 0 0,24 0 0 0 0,21 0 0 0 0,18 0 0 0 0,11 0 0 0 0,7 0 0 0 0,11 0 0 0 0,10 0 0 0 0,2 0 0 0 0,-3 0 0 0 0,-11 0 0 0 0,-16 0 0 0 0,-19 0 0 0 0,-19 0 0 0 0,-24 0 0 0 0,-27 0 0 0 0,-26 0 0 0 0,-27 0 0 0 0,-44 0 0 0 0,-39-7 0 0 0,-42-2 0 0 0,-45 0 0 0 0,-45-5 0 0 0,-38 0 0 0 0,-34-5 0 0 0,-28 0 0 0 0,-26 5 0 0 0,-48-4 0 0 0,-66 3 0 0 0,-43 2 0 0 0,-16 5 0 0 0,-7 3 0 0 0,11 2 0 0 0,21 2 0 0 0,34 1 0 0 0,36 1 0 0 0,30 0 0 0 0,30-1 0 0 0,31 1 0 0 0,34-1 0 0 0,36 0 0 0 0,38 1 0 0 0,33-1 0 0 0,38 0 0 0 0,43 0 0 0 0,36 0 0 0 0,34 0 0 0 0,35-1 0 0 0,22 1 0 0 0,19 0 0 0 0,13 0 0 0 0,17 0 0 0 0,8 0 0 0 0,16 0 0 0 0,10 0 0 0 0,6 0 0 0 0,9 0 0 0 0,11 0 0 0 0,-6 0 0 0 0,1 0 0 0 0,-2 0 0 0 0,-3 0 0 0 0,-11 0 0 0 0,-13 0 0 0 0,-11 0 0 0 0,-16 0 0 0 0,-15 0 0 0 0,-19 0 0 0 0,-26 0 0 0 0,-23 0 0 0 0,-20 0 0 0 0,-27 0 0 0 0,-34 0 0 0 0,-39 0 0 0 0,-34 0 0 0 0,-33 0 0 0 0,-41 0 0 0 0,-32 0 0 0 0,-20 0 0 0 0,-19 0 0 0 0,-2 0 0 0 0,9 0 0 0 0,12 0 0 0 0,10 0 0 0 0,24 0 0 0 0,25 0 0 0 0,21 0 0 0 0,24 0 0 0 0,21 0 0 0 0,29 7 0 0 0,35 3 0 0 0,48-1 0 0 0,45-2 0 0 0,49-2 0 0 0,44-2 0 0 0,34-1 0 0 0,22-2 0 0 0,21 1 0 0 0,16-2 0 0 0,10 1 0 0 0,14-1 0 0 0,13 1 0 0 0,-5 0 0 0 0,2 0 0 0 0,-1 0 0 0 0,-11 0 0 0 0,-13 0 0 0 0,-13 0 0 0 0,-9 0 0 0 0,-7 0 0 0 0,-19 0 0 0 0,-27 0 0 0 0,-28 0 0 0 0,-30 0 0 0 0,-26 0 0 0 0,-27 0 0 0 0,-23 0 0 0 0,-30 0 0 0 0,-37 0 0 0 0,-32 0 0 0 0,-41 0 0 0 0,-29 0 0 0 0,-33 0 0 0 0,-30 0 0 0 0,-16 0 0 0 0,-12 0 0 0 0,-3 0 0 0 0,3 0 0 0 0,12 0 0 0 0,9 0 0 0 0,4 0 0 0 0,16 0 0 0 0,19 0 0 0 0,17 0 0 0 0,21 0 0 0 0,39 0 0 0 0,42 0 0 0 0,38 0 0 0 0,27 0 0 0 0,18 0 0 0 0,11 0 0 0 0,4 0 0 0 0,9-7 0 0 0,1-3 0 0 0,-1 1 0 0 0,-5-5 0 0 0,-3 0 0 0 0,-10 2 0 0 0,-5 3 0 0 0,-8-4 0 0 0,-8 1 0 0 0,0 1 0 0 0,-4 4 0 0 0,-3 2 0 0 0,-4 3 0 0 0,-11-6 0 0 0,-3-2 0 0 0,-2 2 0 0 0,9 1 0 0 0,4 2 0 0 0,1 3 0 0 0,0 0 0 0 0,-1 2 0 0 0,-1 0 0 0 0,-1 0 0 0 0,-1 1 0 0 0,0-1 0 0 0,-1 0 0 0 0,0-6 0 0 0,0-4 0 0 0,1 2 0 0 0,-1 0 0 0 0,-7-4 0 0 0,-17 0 0 0 0,-24-6 0 0 0,-26 1 0 0 0,-14 3 0 0 0,-12-3 0 0 0,-5 1 0 0 0,-4 4 0 0 0,2 3 0 0 0,5 4 0 0 0,6 2 0 0 0,12 3 0 0 0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0-01T14:42:40.483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7141 18753 16383 0 0,'7'0'0'0'0,"9"0"0"0"0,10 0 0 0 0,6 7 0 0 0,6 3 0 0 0,16-1 0 0 0,14 5 0 0 0,16 0 0 0 0,15 5 0 0 0,19 6 0 0 0,17-1 0 0 0,13 3 0 0 0,11 3 0 0 0,19-4 0 0 0,29 2 0 0 0,21-5 0 0 0,15-6 0 0 0,14 2 0 0 0,5 3 0 0 0,1-1 0 0 0,-2-4 0 0 0,-4 2 0 0 0,-10-3 0 0 0,-13 4 0 0 0,-10-3 0 0 0,-9-3 0 0 0,-5 3 0 0 0,-11-2 0 0 0,-18-3 0 0 0,-19-4 0 0 0,-23 4 0 0 0,-20 0 0 0 0,-18-2 0 0 0,-11-3 0 0 0,-14-3 0 0 0,-27-1 0 0 0,-36-2 0 0 0,-34-1 0 0 0,-34-1 0 0 0,-37 1 0 0 0,-37-1 0 0 0,-38 1 0 0 0,-27-7 0 0 0,-29-10 0 0 0,-47-8 0 0 0,-47-1 0 0 0,-61-9 0 0 0,-30-6 0 0 0,-8 4 0 0 0,18 1 0 0 0,20 7 0 0 0,32 9 0 0 0,40 6 0 0 0,37 7 0 0 0,36 5 0 0 0,44 1 0 0 0,26 3 0 0 0,33-1 0 0 0,26 1 0 0 0,22-1 0 0 0,33 0 0 0 0,39 0 0 0 0,34-1 0 0 0,36 0 0 0 0,27 0 0 0 0,27 0 0 0 0,30 0 0 0 0,25 0 0 0 0,33 0 0 0 0,24 0 0 0 0,23 0 0 0 0,11 0 0 0 0,17 0 0 0 0,11 0 0 0 0,6 0 0 0 0,-6 0 0 0 0,-2 0 0 0 0,-8 0 0 0 0,-9 0 0 0 0,-8 0 0 0 0,-21 0 0 0 0,-23 0 0 0 0,-20 0 0 0 0,-29 0 0 0 0,-30 0 0 0 0,-25 0 0 0 0,-23 0 0 0 0,-21 0 0 0 0,-29 0 0 0 0,-35 0 0 0 0,-40 0 0 0 0,-34 0 0 0 0,-34 0 0 0 0,-35 0 0 0 0,-35 0 0 0 0,-31 0 0 0 0,-30 0 0 0 0,-23 0 0 0 0,-26 0 0 0 0,-26 0 0 0 0,-18 0 0 0 0,-8 0 0 0 0,-18 0 0 0 0,-20 0 0 0 0,6 0 0 0 0,16 7 0 0 0,25 2 0 0 0,26 7 0 0 0,36 0 0 0 0,35-2 0 0 0,35 4 0 0 0,37-2 0 0 0,38-3 0 0 0,32-5 0 0 0,45-2 0 0 0,37-3 0 0 0,39-2 0 0 0,30-1 0 0 0,30-1 0 0 0,28 0 0 0 0,29 1 0 0 0,22-1 0 0 0,26 1 0 0 0,26-1 0 0 0,25 1 0 0 0,26 0 0 0 0,15 0 0 0 0,7 0 0 0 0,9 0 0 0 0,16 0 0 0 0,-6 0 0 0 0,-7 0 0 0 0,-7 0 0 0 0,-7 0 0 0 0,-10 0 0 0 0,-20 0 0 0 0,-20 0 0 0 0,-23 7 0 0 0,-37 3 0 0 0,-27 6 0 0 0,-35 0 0 0 0,-31-2 0 0 0,-39-4 0 0 0,-42 4 0 0 0,-44-1 0 0 0,-38 5 0 0 0,-35-1 0 0 0,-34-4 0 0 0,-37-3 0 0 0,-29 3 0 0 0,-30 0 0 0 0,-23 4 0 0 0,-11 6 0 0 0,0 0 0 0 0,-12 3 0 0 0,0-4 0 0 0,6 2 0 0 0,-6-3 0 0 0,9 2 0 0 0,16-3 0 0 0,17 2 0 0 0,27-3 0 0 0,30-4 0 0 0,31-5 0 0 0,27-4 0 0 0,28-4 0 0 0,37-1 0 0 0,50-1 0 0 0,47-1 0 0 0,52 0 0 0 0,61 0 0 0 0,45 1 0 0 0,33-1 0 0 0,33 1 0 0 0,20 0 0 0 0,20 0 0 0 0,27-7 0 0 0,29-10 0 0 0,23-1 0 0 0,3 2 0 0 0,-1 4 0 0 0,-16 4 0 0 0,-21 3 0 0 0,-21 3 0 0 0,-31 1 0 0 0,-29 1 0 0 0,-33 1 0 0 0,-27 0 0 0 0,-21-1 0 0 0,-27 1 0 0 0,-34-1 0 0 0,-30 1 0 0 0,-25-1 0 0 0,-37 0 0 0 0,-38 0 0 0 0,-39 0 0 0 0,-47-7 0 0 0,-49-3 0 0 0,-50-6 0 0 0,-49 0 0 0 0,-45-5 0 0 0,-31-6 0 0 0,-32 2 0 0 0,-12 5 0 0 0,-1 6 0 0 0,5 6 0 0 0,21 3 0 0 0,25 3 0 0 0,38 2 0 0 0,45 1 0 0 0,46 1 0 0 0,48-1 0 0 0,67-1 0 0 0,73 1 0 0 0,64-8 0 0 0,62-2 0 0 0,50-6 0 0 0,37-9 0 0 0,23 1 0 0 0,5 3 0 0 0,-4-1 0 0 0,-8 3 0 0 0,-17-3 0 0 0,-16 3 0 0 0,-15 3 0 0 0,-19 6 0 0 0,-16-4 0 0 0,-20 1 0 0 0,-26 2 0 0 0,-23 3 0 0 0,-20 3 0 0 0,-27 2 0 0 0,-33 1 0 0 0,-39-6 0 0 0,-34-2 0 0 0,-26 0 0 0 0,-32 3 0 0 0,-22 1 0 0 0,-14 2 0 0 0,-14 2 0 0 0,-4 0 0 0 0,0 1 0 0 0,3 1 0 0 0,18-1 0 0 0,15 0 0 0 0,12 1 0 0 0,22-1 0 0 0,15 0 0 0 0,24 7 0 0 0,33 2 0 0 0,35 0 0 0 0,41-2 0 0 0,35-2 0 0 0,34-1 0 0 0,33-3 0 0 0,29 7 0 0 0,21 1 0 0 0,13 0 0 0 0,1-2 0 0 0,-6-3 0 0 0,-8-1 0 0 0,-15-1 0 0 0,-16-2 0 0 0,-14 0 0 0 0,-17 0 0 0 0,-16-1 0 0 0,-19 1 0 0 0,-19 0 0 0 0,-28 0 0 0 0,-36-1 0 0 0,-47 1 0 0 0,-45 0 0 0 0,-44-7 0 0 0,-41-2 0 0 0,-35-7 0 0 0,-24-7 0 0 0,-16-1 0 0 0,-8 5 0 0 0,-4 5 0 0 0,1 5 0 0 0,14 4 0 0 0,21 3 0 0 0,27 2 0 0 0,31 1 0 0 0,31 0 0 0 0,43 0 0 0 0,51 0 0 0 0,54-1 0 0 0,57 1 0 0 0,60-1 0 0 0,55 0 0 0 0,38 0 0 0 0,22 0 0 0 0,11 0 0 0 0,-3 0 0 0 0,3 0 0 0 0,0 0 0 0 0,-17 0 0 0 0,-21 0 0 0 0,-28 0 0 0 0,-32 0 0 0 0,-30 0 0 0 0,-24 0 0 0 0,-22 0 0 0 0,-20 0 0 0 0,-27-7 0 0 0,-35-3 0 0 0,-39-6 0 0 0,-42-7 0 0 0,-42 0 0 0 0,-50-4 0 0 0,-46-3 0 0 0,-35-4 0 0 0,-25-10 0 0 0,-6 2 0 0 0,1 1 0 0 0,7 8 0 0 0,21 10 0 0 0,26 8 0 0 0,31 7 0 0 0,33 5 0 0 0,38 2 0 0 0,47 3 0 0 0,58-1 0 0 0,46 1 0 0 0,46 0 0 0 0,32-1 0 0 0,19-1 0 0 0,17 1 0 0 0,-2-1 0 0 0,-4 0 0 0 0,-10 0 0 0 0,-13 0 0 0 0,-11 0 0 0 0,-16 0 0 0 0,-8 0 0 0 0,-10 0 0 0 0,-24 0 0 0 0,-33 0 0 0 0,-40 0 0 0 0,-41 0 0 0 0,-46 0 0 0 0,-36 0 0 0 0,-28 0 0 0 0,-18 0 0 0 0,-18 0 0 0 0,-13 0 0 0 0,-3 0 0 0 0,17 0 0 0 0,17 0 0 0 0,29 0 0 0 0,28 0 0 0 0,33 0 0 0 0,27 0 0 0 0,34 0 0 0 0,47 7 0 0 0,44 2 0 0 0,51 7 0 0 0,43 0 0 0 0,48-2 0 0 0,35 4 0 0 0,22-2 0 0 0,11-4 0 0 0,6-3 0 0 0,-7 4 0 0 0,3-1 0 0 0,-7-2 0 0 0,-10 4 0 0 0,-18 0 0 0 0,-18-3 0 0 0,-23-3 0 0 0,-27-3 0 0 0,-19 5 0 0 0,-25 1 0 0 0,-23-2 0 0 0,-41-2 0 0 0,-49-3 0 0 0,-51-1 0 0 0,-45-2 0 0 0,-39-1 0 0 0,-25 0 0 0 0,-26-1 0 0 0,-15 1 0 0 0,-9 0 0 0 0,-2-1 0 0 0,8 1 0 0 0,18 0 0 0 0,21 0 0 0 0,25 0 0 0 0,30 0 0 0 0,28 0 0 0 0,21 0 0 0 0,16 7 0 0 0,22 9 0 0 0,38 3 0 0 0,45-3 0 0 0,41 3 0 0 0,32-2 0 0 0,23-3 0 0 0,20-4 0 0 0,17-4 0 0 0,3-4 0 0 0,6-1 0 0 0,-4-1 0 0 0,-13 0 0 0 0,-16-1 0 0 0,-22 0 0 0 0,-29 0 0 0 0,-18 1 0 0 0,-20 0 0 0 0,-21 0 0 0 0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0-01T14:42:40.484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8313 18825 16383 0 0,'-7'0'0'0'0,"-3"7"0"0"0,1 9 0 0 0,9 9 0 0 0,18 8 0 0 0,28 4 0 0 0,40 11 0 0 0,41 3 0 0 0,48 1 0 0 0,36-1 0 0 0,46 3 0 0 0,42 1 0 0 0,33 5 0 0 0,30-1 0 0 0,31 3 0 0 0,12-1 0 0 0,-1 2 0 0 0,-11-2 0 0 0,-32-4 0 0 0,-35-6 0 0 0,-44-3 0 0 0,-50-11 0 0 0,-50-4 0 0 0,-49-8 0 0 0,-40-8 0 0 0,-50-7 0 0 0,-67-5 0 0 0,-72-4 0 0 0,-75-2 0 0 0,-86 0 0 0 0,-91-1 0 0 0,-62-6 0 0 0,-54-9 0 0 0,-38-9 0 0 0,-12 0 0 0 0,20 4 0 0 0,36 7 0 0 0,55 5 0 0 0,54 4 0 0 0,50 4 0 0 0,49 2 0 0 0,46 1 0 0 0,43 0 0 0 0,42 0 0 0 0,56 0 0 0 0,66-1 0 0 0,68 1 0 0 0,63-1 0 0 0,66 0 0 0 0,62 0 0 0 0,70 0 0 0 0,49 0 0 0 0,29 0 0 0 0,9 0 0 0 0,-4 0 0 0 0,-17 0 0 0 0,-26 0 0 0 0,-28 0 0 0 0,-23 0 0 0 0,-25 0 0 0 0,-26 0 0 0 0,-33 0 0 0 0,-41 0 0 0 0,-47 0 0 0 0,-43-7 0 0 0,-46-9 0 0 0,-46-10 0 0 0,-55-6 0 0 0,-69-5 0 0 0,-79-11 0 0 0,-98-18 0 0 0,-120-11 0 0 0,-103-22 0 0 0,-84-7 0 0 0,-80 0 0 0 0,-53 5 0 0 0,-8 18 0 0 0,24 17 0 0 0,40 13 0 0 0,73 15 0 0 0,87 14 0 0 0,90 11 0 0 0,88 8 0 0 0,79 5 0 0 0,76 2 0 0 0,62 1 0 0 0,57 0 0 0 0,59-1 0 0 0,59 7 0 0 0,67 2 0 0 0,69 5 0 0 0,93 1 0 0 0,81-3 0 0 0,61-4 0 0 0,64-3 0 0 0,46-4 0 0 0,29-1 0 0 0,1-2 0 0 0,-11 0 0 0 0,-24-1 0 0 0,-32 0 0 0 0,-47 1 0 0 0,-51-1 0 0 0,-45 1 0 0 0,-49 0 0 0 0,-50 0 0 0 0,-47 0 0 0 0,-54 0 0 0 0,-68 0 0 0 0,-77 0 0 0 0,-91-7 0 0 0,-88-9 0 0 0,-79-10 0 0 0,-90-6 0 0 0,-80-13 0 0 0,-52-5 0 0 0,-33 6 0 0 0,-15 10 0 0 0,2 11 0 0 0,33 10 0 0 0,40 6 0 0 0,33 5 0 0 0,35 3 0 0 0,39 1 0 0 0,41 0 0 0 0,41 0 0 0 0,49 0 0 0 0,45-1 0 0 0,41-1 0 0 0,41 8 0 0 0,32 8 0 0 0,30 9 0 0 0,38 8 0 0 0,43 4 0 0 0,65-4 0 0 0,73 0 0 0 0,92 9 0 0 0,87 3 0 0 0,81 8 0 0 0,82 3 0 0 0,59-2 0 0 0,31-10 0 0 0,12-12 0 0 0,0-12 0 0 0,-6-9 0 0 0,-21-6 0 0 0,-32-5 0 0 0,-41-1 0 0 0,-51-2 0 0 0,-54 1 0 0 0,-62 0 0 0 0,-60 0 0 0 0,-58 2 0 0 0,-54-1 0 0 0,-55 1 0 0 0,-69 0 0 0 0,-77 0 0 0 0,-98 0 0 0 0,-89 0 0 0 0,-79-7 0 0 0,-72-2 0 0 0,-52 0 0 0 0,-39 2 0 0 0,-17 2 0 0 0,-7 2 0 0 0,3 1 0 0 0,12 15 0 0 0,30 13 0 0 0,33 8 0 0 0,43 6 0 0 0,55 3 0 0 0,44 1 0 0 0,39-6 0 0 0,44-4 0 0 0,31 0 0 0 0,47 2 0 0 0,56-6 0 0 0,62-8 0 0 0,65-8 0 0 0,67-6 0 0 0,71-4 0 0 0,54-4 0 0 0,45 0 0 0 0,37-2 0 0 0,28 1 0 0 0,20-1 0 0 0,-4 1 0 0 0,-19 1 0 0 0,-34-1 0 0 0,-33 1 0 0 0,-35 0 0 0 0,-44 0 0 0 0,-47 0 0 0 0,-50 0 0 0 0,-47 0 0 0 0,-47-7 0 0 0,-51-9 0 0 0,-67-9 0 0 0,-63-1 0 0 0,-78-2 0 0 0,-128-10 0 0 0,-133-7 0 0 0,-97-9 0 0 0,-77-2 0 0 0,-41 8 0 0 0,-14 12 0 0 0,14 13 0 0 0,26 9 0 0 0,43 8 0 0 0,57 5 0 0 0,54 2 0 0 0,58 1 0 0 0,57 1 0 0 0,61-1 0 0 0,52 0 0 0 0,61 6 0 0 0,46 2 0 0 0,54-1 0 0 0,54-2 0 0 0,67-2 0 0 0,69-2 0 0 0,65-1 0 0 0,59-2 0 0 0,52 0 0 0 0,42 0 0 0 0,35-1 0 0 0,26 1 0 0 0,10 0 0 0 0,-6-1 0 0 0,-8 1 0 0 0,-25 0 0 0 0,-26 0 0 0 0,-28 0 0 0 0,-22 0 0 0 0,-33 0 0 0 0,-30 0 0 0 0,-24 0 0 0 0,-32 0 0 0 0,-36 0 0 0 0,-48 0 0 0 0,-58 0 0 0 0,-75 0 0 0 0,-77 0 0 0 0,-73 0 0 0 0,-79 0 0 0 0,-89-7 0 0 0,-81-9 0 0 0,-75-9 0 0 0,-46-8 0 0 0,-30 3 0 0 0,-5 6 0 0 0,3 6 0 0 0,42 8 0 0 0,53 4 0 0 0,65 4 0 0 0,72 2 0 0 0,72 1 0 0 0,73 1 0 0 0,61-1 0 0 0,52 7 0 0 0,60 9 0 0 0,60 2 0 0 0,71 4 0 0 0,86-1 0 0 0,86 2 0 0 0,77 4 0 0 0,82-2 0 0 0,76 1 0 0 0,56-4 0 0 0,39-6 0 0 0,29-6 0 0 0,14-4 0 0 0,-6-5 0 0 0,-30-1 0 0 0,-39-1 0 0 0,-41-2 0 0 0,-51 1 0 0 0,-53 0 0 0 0,-60 0 0 0 0,-52 1 0 0 0,-55 0 0 0 0,-47 0 0 0 0,-47 0 0 0 0,-40 0 0 0 0,-59 0 0 0 0,-64 0 0 0 0,-64 0 0 0 0,-72 0 0 0 0,-59-14 0 0 0,-62-12 0 0 0,-40-1 0 0 0,-21 4 0 0 0,-9 5 0 0 0,6 7 0 0 0,12 4 0 0 0,21 4 0 0 0,28 3 0 0 0,27 0 0 0 0,29 1 0 0 0,33 1 0 0 0,34-1 0 0 0,38-1 0 0 0,32 1 0 0 0,47-1 0 0 0,50 0 0 0 0,53 0 0 0 0,58 0 0 0 0,57 0 0 0 0,50 0 0 0 0,34 0 0 0 0,23 0 0 0 0,12 0 0 0 0,5 0 0 0 0,1 0 0 0 0,-8 0 0 0 0,-12 0 0 0 0,-19 0 0 0 0,-18 0 0 0 0,-22 0 0 0 0,-36 0 0 0 0,-34 0 0 0 0,-30 0 0 0 0,-27 0 0 0 0,-38 0 0 0 0,-41 0 0 0 0,-52-7 0 0 0,-62-2 0 0 0,-56-7 0 0 0,-64-1 0 0 0,-52-4 0 0 0,-35 2 0 0 0,-23 3 0 0 0,-3 5 0 0 0,5 4 0 0 0,9 4 0 0 0,17 1 0 0 0,17 2 0 0 0,22 1 0 0 0,28 7 0 0 0,25 2 0 0 0,34 7 0 0 0,40 0 0 0 0,36-3 0 0 0,35 4 0 0 0,42-2 0 0 0,53-4 0 0 0,56-3 0 0 0,63-3 0 0 0,47-4 0 0 0,47-1 0 0 0,31-1 0 0 0,10 0 0 0 0,14-1 0 0 0,4 0 0 0 0,0 1 0 0 0,-9-1 0 0 0,-6 1 0 0 0,-10-7 0 0 0,-17-2 0 0 0,-18-7 0 0 0,-15-1 0 0 0,-18 3 0 0 0,-24 4 0 0 0,-30 3 0 0 0,-34 3 0 0 0,-30-4 0 0 0,-39-2 0 0 0,-35 1 0 0 0,-34 3 0 0 0,-36 2 0 0 0,-44-6 0 0 0,-41-1 0 0 0,-32 2 0 0 0,-29 2 0 0 0,-10 2 0 0 0,-3 3 0 0 0,-2 0 0 0 0,14 2 0 0 0,21 0 0 0 0,26 1 0 0 0,32-1 0 0 0,29 0 0 0 0,45 1 0 0 0,43-1 0 0 0,51 0 0 0 0,52 0 0 0 0,44 0 0 0 0,26 0 0 0 0,12 0 0 0 0,3 0 0 0 0,-2 0 0 0 0,-11 0 0 0 0,-14 0 0 0 0,-19 0 0 0 0,-27 0 0 0 0,-18 0 0 0 0,-26 0 0 0 0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0-01T14:42:40.485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7021 18936 16383 0 0,'7'0'0'0'0,"10"0"0"0"0,8 0 0 0 0,7 0 0 0 0,6 0 0 0 0,2 0 0 0 0,3 0 0 0 0,7 0 0 0 0,2 0 0 0 0,7 0 0 0 0,14 0 0 0 0,8 0 0 0 0,12 0 0 0 0,18 0 0 0 0,19 0 0 0 0,21 0 0 0 0,21 0 0 0 0,9 0 0 0 0,15 0 0 0 0,3 0 0 0 0,10 0 0 0 0,11 0 0 0 0,10 0 0 0 0,9 0 0 0 0,-3 0 0 0 0,2 0 0 0 0,3 0 0 0 0,1 0 0 0 0,-12 0 0 0 0,-9 0 0 0 0,-9 0 0 0 0,-11 0 0 0 0,-5 0 0 0 0,-8 0 0 0 0,-7 0 0 0 0,-22 0 0 0 0,-22 0 0 0 0,-15 0 0 0 0,-13 0 0 0 0,-19 7 0 0 0,-17 3 0 0 0,-35-2 0 0 0,-38 0 0 0 0,-41-3 0 0 0,-33-2 0 0 0,-33-1 0 0 0,-40-2 0 0 0,-44 0 0 0 0,-46 0 0 0 0,-46 0 0 0 0,-37-1 0 0 0,-56-6 0 0 0,-41-3 0 0 0,-27-6 0 0 0,-7-7 0 0 0,2-1 0 0 0,21 5 0 0 0,35 5 0 0 0,35 5 0 0 0,43 4 0 0 0,34 3 0 0 0,35 2 0 0 0,47 1 0 0 0,49 0 0 0 0,44 0 0 0 0,47 0 0 0 0,47-1 0 0 0,39 1 0 0 0,37-1 0 0 0,22 0 0 0 0,9 0 0 0 0,17 0 0 0 0,18 0 0 0 0,14 0 0 0 0,12 0 0 0 0,20 0 0 0 0,16 0 0 0 0,10 0 0 0 0,6 0 0 0 0,10 0 0 0 0,9 0 0 0 0,2 0 0 0 0,3 0 0 0 0,-2 0 0 0 0,-5 0 0 0 0,-6 0 0 0 0,-12 0 0 0 0,-14 0 0 0 0,-17 0 0 0 0,-19 0 0 0 0,-15 0 0 0 0,-17 0 0 0 0,-23 0 0 0 0,-22 0 0 0 0,-17 0 0 0 0,-27 0 0 0 0,-33 0 0 0 0,-32 0 0 0 0,-31 0 0 0 0,-27 0 0 0 0,-26 0 0 0 0,-23 0 0 0 0,-15 0 0 0 0,-11 0 0 0 0,-13 0 0 0 0,-11 0 0 0 0,-9 0 0 0 0,-7 0 0 0 0,-4 0 0 0 0,-2 0 0 0 0,-1 0 0 0 0,1 0 0 0 0,7 0 0 0 0,17 0 0 0 0,25 0 0 0 0,26 0 0 0 0,22 0 0 0 0,29-7 0 0 0,37-3 0 0 0,45 2 0 0 0,38 0 0 0 0,40 3 0 0 0,43 2 0 0 0,34 1 0 0 0,20 2 0 0 0,22 0 0 0 0,13 0 0 0 0,12 0 0 0 0,4 1 0 0 0,5-1 0 0 0,-1 0 0 0 0,2 0 0 0 0,4 1 0 0 0,3-1 0 0 0,-3 0 0 0 0,-7 0 0 0 0,-14 0 0 0 0,-16 0 0 0 0,-21 0 0 0 0,-19 0 0 0 0,-16 7 0 0 0,-25 2 0 0 0,-26 0 0 0 0,-36-2 0 0 0,-47-2 0 0 0,-48-2 0 0 0,-44-1 0 0 0,-43-1 0 0 0,-43-1 0 0 0,-27-1 0 0 0,-16 1 0 0 0,1-1 0 0 0,0 1 0 0 0,2 0 0 0 0,-6 0 0 0 0,-1 0 0 0 0,0 0 0 0 0,10 0 0 0 0,11 0 0 0 0,11 0 0 0 0,23 0 0 0 0,24 0 0 0 0,30 0 0 0 0,24 0 0 0 0,21 0 0 0 0,27 0 0 0 0,33 0 0 0 0,53 0 0 0 0,53 0 0 0 0,50 0 0 0 0,34 0 0 0 0,27 0 0 0 0,27 0 0 0 0,20 0 0 0 0,23 0 0 0 0,4 0 0 0 0,2 0 0 0 0,-13 0 0 0 0,-18 0 0 0 0,-13 0 0 0 0,-12 0 0 0 0,-11 0 0 0 0,-16 0 0 0 0,-8 0 0 0 0,-10 0 0 0 0,-17 0 0 0 0,-23 0 0 0 0,-16 0 0 0 0,-24 0 0 0 0,-24 7 0 0 0,-19 2 0 0 0,-21 7 0 0 0,-19 7 0 0 0,-27 1 0 0 0,-22 2 0 0 0,-27 4 0 0 0,-27 4 0 0 0,-28-3 0 0 0,-24-1 0 0 0,-20 2 0 0 0,-18-4 0 0 0,-17-1 0 0 0,-12-4 0 0 0,-8-6 0 0 0,-18 1 0 0 0,-14-3 0 0 0,-3 3 0 0 0,6-1 0 0 0,6-4 0 0 0,13-3 0 0 0,23-5 0 0 0,29-2 0 0 0,28-2 0 0 0,22-1 0 0 0,24-1 0 0 0,33 0 0 0 0,40 1 0 0 0,50-1 0 0 0,40 1 0 0 0,36-8 0 0 0,33-1 0 0 0,27 0 0 0 0,13 2 0 0 0,9 2 0 0 0,1 2 0 0 0,-6 1 0 0 0,-6 1 0 0 0,-14 1 0 0 0,-14 1 0 0 0,-13-1 0 0 0,-16 0 0 0 0,-9 1 0 0 0,-10-1 0 0 0,-9 0 0 0 0,-14 0 0 0 0,-22 7 0 0 0,-35 3 0 0 0,-43 5 0 0 0,-41 2 0 0 0,-44-3 0 0 0,-48-4 0 0 0,-41-3 0 0 0,-30-3 0 0 0,-19-3 0 0 0,-12 0 0 0 0,-4-2 0 0 0,5 1 0 0 0,25-1 0 0 0,29 0 0 0 0,27 1 0 0 0,35 0 0 0 0,34 0 0 0 0,26-1 0 0 0,40 1 0 0 0,40 0 0 0 0,47 0 0 0 0,49 0 0 0 0,50 1 0 0 0,41-1 0 0 0,29 0 0 0 0,20 0 0 0 0,3 0 0 0 0,-5 0 0 0 0,-8 0 0 0 0,-8 0 0 0 0,-15 0 0 0 0,-14 0 0 0 0,-27 0 0 0 0,-27 0 0 0 0,-18 7 0 0 0,-21 2 0 0 0,-22 0 0 0 0,-18 5 0 0 0,-25 0 0 0 0,-27-2 0 0 0,-36 4 0 0 0,-28-1 0 0 0,-18-3 0 0 0,-4-3 0 0 0,-4 3 0 0 0,6 1 0 0 0,8-3 0 0 0,1-3 0 0 0,4-3 0 0 0,14-1 0 0 0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0-01T14:42:40.486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7011 18971 16383 0 0,'14'0'0'0'0,"19"0"0"0"0,25 0 0 0 0,23 0 0 0 0,33 0 0 0 0,32 0 0 0 0,27 0 0 0 0,25 0 0 0 0,29 0 0 0 0,25 0 0 0 0,11 0 0 0 0,3 0 0 0 0,-9 0 0 0 0,-5 0 0 0 0,-11 0 0 0 0,-12 0 0 0 0,-16 0 0 0 0,-23 0 0 0 0,-24 7 0 0 0,-25 2 0 0 0,-30 0 0 0 0,-20-2 0 0 0,-32-2 0 0 0,-40-2 0 0 0,-31-1 0 0 0,-27-1 0 0 0,-28-1 0 0 0,-23-1 0 0 0,-25 1 0 0 0,-21 0 0 0 0,-15-1 0 0 0,-10 1 0 0 0,-20 0 0 0 0,-21 0 0 0 0,-11 0 0 0 0,-5 0 0 0 0,7 0 0 0 0,11 0 0 0 0,12 0 0 0 0,24 0 0 0 0,25 7 0 0 0,23 2 0 0 0,17 0 0 0 0,11-2 0 0 0,13-2 0 0 0,27-1 0 0 0,36-3 0 0 0,33 0 0 0 0,35-1 0 0 0,35 0 0 0 0,31-1 0 0 0,22 1 0 0 0,30-1 0 0 0,26 1 0 0 0,21 0 0 0 0,23 0 0 0 0,5 0 0 0 0,1 0 0 0 0,-13 0 0 0 0,-18 0 0 0 0,-34 0 0 0 0,-33 0 0 0 0,-29 0 0 0 0,-56 0 0 0 0,-68 0 0 0 0,-61 0 0 0 0,-63 0 0 0 0,-59 0 0 0 0,-47 0 0 0 0,-48 0 0 0 0,-46 0 0 0 0,-31 0 0 0 0,-25 0 0 0 0,3 0 0 0 0,10 0 0 0 0,25 0 0 0 0,36 0 0 0 0,42 0 0 0 0,46 0 0 0 0,45 0 0 0 0,66 0 0 0 0,74 0 0 0 0,69 0 0 0 0,72 0 0 0 0,66 0 0 0 0,46 0 0 0 0,20 0 0 0 0,20 0 0 0 0,7 0 0 0 0,0 0 0 0 0,-9 0 0 0 0,-21 0 0 0 0,-30 0 0 0 0,-28 0 0 0 0,-31 0 0 0 0,-26 0 0 0 0,-26 0 0 0 0,-23 0 0 0 0,-24 0 0 0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0-01T14:42:40.461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7082 18814 16383 0 0,'14'0'0'0'0,"18"0"0"0"0,19 0 0 0 0,28 0 0 0 0,21 0 0 0 0,23 0 0 0 0,17 0 0 0 0,14 0 0 0 0,22 0 0 0 0,24 0 0 0 0,27 0 0 0 0,16 0 0 0 0,9 0 0 0 0,-9 0 0 0 0,-5 0 0 0 0,-8 0 0 0 0,-7 0 0 0 0,-8 0 0 0 0,-4 0 0 0 0,-17 0 0 0 0,-14 0 0 0 0,-24 0 0 0 0,-23 0 0 0 0,-22 0 0 0 0,-14 0 0 0 0,-18 0 0 0 0,-14 0 0 0 0,-26 0 0 0 0,-34 0 0 0 0,-38 0 0 0 0,-35 0 0 0 0,-33 0 0 0 0,-36 0 0 0 0,-28 0 0 0 0,-22 0 0 0 0,-14 0 0 0 0,-22 0 0 0 0,-30 0 0 0 0,-26 0 0 0 0,-24 0 0 0 0,-8 0 0 0 0,-1 0 0 0 0,11 0 0 0 0,22 0 0 0 0,22 0 0 0 0,28 0 0 0 0,24 0 0 0 0,26 0 0 0 0,23 0 0 0 0,24 0 0 0 0,26 0 0 0 0,26 0 0 0 0,32 0 0 0 0,39 0 0 0 0,42 0 0 0 0,36 0 0 0 0,35 0 0 0 0,34 0 0 0 0,36 0 0 0 0,31 0 0 0 0,29 0 0 0 0,31 0 0 0 0,27 0 0 0 0,12 0 0 0 0,11 0 0 0 0,8 0 0 0 0,-9 0 0 0 0,-15 0 0 0 0,-18 0 0 0 0,-13 0 0 0 0,-11 0 0 0 0,-14 0 0 0 0,-20 0 0 0 0,-20 0 0 0 0,-30 0 0 0 0,-31 0 0 0 0,-19 0 0 0 0,-22 0 0 0 0,-44 0 0 0 0,-51 0 0 0 0,-56 0 0 0 0,-53 0 0 0 0,-46 0 0 0 0,-24 0 0 0 0,-18 0 0 0 0,-12 0 0 0 0,0 0 0 0 0,1 0 0 0 0,-2 0 0 0 0,7 0 0 0 0,8 0 0 0 0,9 0 0 0 0,6 0 0 0 0,13 0 0 0 0,4 0 0 0 0,9 0 0 0 0,9 0 0 0 0,13 0 0 0 0,21 0 0 0 0,15 0 0 0 0,15 0 0 0 0,7 0 0 0 0,8 0 0 0 0,6 0 0 0 0,7 0 0 0 0,24 0 0 0 0,31 0 0 0 0,34 0 0 0 0,32 0 0 0 0,31 0 0 0 0,33 0 0 0 0,27 0 0 0 0,29 0 0 0 0,16 0 0 0 0,0 0 0 0 0,-1 0 0 0 0,-7 0 0 0 0,-17 0 0 0 0,-26 0 0 0 0,-34 0 0 0 0,-23 0 0 0 0,-43 0 0 0 0,-53 0 0 0 0,-55 0 0 0 0,-55 0 0 0 0,-65 0 0 0 0,-61 0 0 0 0,-39 0 0 0 0,-24 0 0 0 0,-11 0 0 0 0,-3 7 0 0 0,9 3 0 0 0,27-2 0 0 0,24 7 0 0 0,20-1 0 0 0,20-2 0 0 0,17 4 0 0 0,20-1 0 0 0,25 4 0 0 0,22-1 0 0 0,20 3 0 0 0,40-1 0 0 0,45-5 0 0 0,53 2 0 0 0,43-1 0 0 0,42-4 0 0 0,44-4 0 0 0,28-3 0 0 0,30-3 0 0 0,21-1 0 0 0,24-1 0 0 0,23-1 0 0 0,18 0 0 0 0,7 8 0 0 0,-3 1 0 0 0,-11 1 0 0 0,-15-2 0 0 0,-14-2 0 0 0,-12-2 0 0 0,-21-1 0 0 0,-30-2 0 0 0,-31 8 0 0 0,-30 1 0 0 0,-34-1 0 0 0,-30-1 0 0 0,-35-2 0 0 0,-34-2 0 0 0,-39-2 0 0 0,-38 0 0 0 0,-36-1 0 0 0,-36-1 0 0 0,-24 1 0 0 0,-13 0 0 0 0,-5-1 0 0 0,-15 1 0 0 0,-17 0 0 0 0,-15 0 0 0 0,-19 0 0 0 0,-17 0 0 0 0,0 0 0 0 0,2 0 0 0 0,3 0 0 0 0,16 0 0 0 0,21 0 0 0 0,20 0 0 0 0,28 0 0 0 0,30 0 0 0 0,23 7 0 0 0,26 2 0 0 0,41 0 0 0 0,51-2 0 0 0,52-1 0 0 0,46-3 0 0 0,33-2 0 0 0,37 0 0 0 0,31-1 0 0 0,23 0 0 0 0,23-1 0 0 0,26 1 0 0 0,22 0 0 0 0,17-1 0 0 0,12 1 0 0 0,0 0 0 0 0,-14 0 0 0 0,-17 0 0 0 0,-16 0 0 0 0,-20 0 0 0 0,-26 0 0 0 0,-31 0 0 0 0,-22 0 0 0 0,-27 0 0 0 0,-18 0 0 0 0,-24 0 0 0 0,-18 0 0 0 0,-16 0 0 0 0,-28 0 0 0 0,-51 0 0 0 0,-66 0 0 0 0,-84 0 0 0 0,-73 0 0 0 0,-88 0 0 0 0,-68 0 0 0 0,-46 0 0 0 0,-13 0 0 0 0,13 0 0 0 0,22 0 0 0 0,39 0 0 0 0,55 7 0 0 0,51 3 0 0 0,50 6 0 0 0,39 7 0 0 0,43 0 0 0 0,36-3 0 0 0,27-6 0 0 0,25 1 0 0 0,34 0 0 0 0,39-4 0 0 0,35-4 0 0 0,42 4 0 0 0,30 1 0 0 0,27-2 0 0 0,14-3 0 0 0,10-3 0 0 0,10-1 0 0 0,5-2 0 0 0,10-1 0 0 0,11-1 0 0 0,9 1 0 0 0,7-1 0 0 0,-3 1 0 0 0,1 0 0 0 0,-6 0 0 0 0,0-1 0 0 0,-5 1 0 0 0,-5 0 0 0 0,-14 0 0 0 0,-14 0 0 0 0,-18 0 0 0 0,-20 0 0 0 0,-21 0 0 0 0,-27 0 0 0 0,-19 0 0 0 0,-30 0 0 0 0,-41 0 0 0 0,-51 0 0 0 0,-48 0 0 0 0,-53 0 0 0 0,-38 0 0 0 0,-26 0 0 0 0,-7 0 0 0 0,3 0 0 0 0,8 0 0 0 0,8 0 0 0 0,15 0 0 0 0,23 0 0 0 0,21 0 0 0 0,19 0 0 0 0,20 0 0 0 0,18 0 0 0 0,35 0 0 0 0,30-7 0 0 0,37-2 0 0 0,27-7 0 0 0,24 0 0 0 0,12 2 0 0 0,17-4 0 0 0,11 2 0 0 0,13-3 0 0 0,10-7 0 0 0,2-4 0 0 0,3 1 0 0 0,-3 7 0 0 0,2 0 0 0 0,-12 3 0 0 0,-8-1 0 0 0,-12 1 0 0 0,-20-1 0 0 0,-19 1 0 0 0,-16 5 0 0 0,-20-3 0 0 0,-23 2 0 0 0,-30 3 0 0 0,-42-3 0 0 0,-53-6 0 0 0,-59-7 0 0 0,-43-5 0 0 0,-44 3 0 0 0,-20 6 0 0 0,-7 7 0 0 0,9 8 0 0 0,15 3 0 0 0,22 5 0 0 0,29 1 0 0 0,36 1 0 0 0,38 1 0 0 0,35-1 0 0 0,25 0 0 0 0,39 0 0 0 0,38-1 0 0 0,25 0 0 0 0,20 0 0 0 0,15 0 0 0 0,17 0 0 0 0,1 0 0 0 0,0 0 0 0 0,-2 0 0 0 0,0 0 0 0 0,6 0 0 0 0,-6 0 0 0 0,-2 0 0 0 0,-10 0 0 0 0,-2 0 0 0 0,-6 0 0 0 0,-8 0 0 0 0,-6 0 0 0 0,-26 0 0 0 0,-38 0 0 0 0,-38 0 0 0 0,-31 0 0 0 0,-16 0 0 0 0,-6 0 0 0 0,2 0 0 0 0,11 0 0 0 0,13 0 0 0 0,28 0 0 0 0,29 0 0 0 0,32 0 0 0 0,35 0 0 0 0,31 0 0 0 0,16 0 0 0 0,7 0 0 0 0,0 0 0 0 0,-3 0 0 0 0,-4 0 0 0 0,-3 0 0 0 0,-11 0 0 0 0,-4 0 0 0 0,-8 0 0 0 0,-9 0 0 0 0,-7 0 0 0 0,-4 0 0 0 0,-5 0 0 0 0,-1 0 0 0 0,-1 0 0 0 0,-1 0 0 0 0,1 0 0 0 0,0 0 0 0 0,1 0 0 0 0,-1 0 0 0 0,1 0 0 0 0,-6 0 0 0 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0-01T14:42:40.477"/>
    </inkml:context>
    <inkml:brush xml:id="br0">
      <inkml:brushProperty name="width" value="0.1" units="cm"/>
      <inkml:brushProperty name="height" value="0.1" units="cm"/>
      <inkml:brushProperty name="color" value="#FFFFFF"/>
    </inkml:brush>
  </inkml:definitions>
  <inkml:trace contextRef="#ctx0" brushRef="#br0">8240 19232 16383 0 0,'7'0'0'0'0,"10"0"0"0"0,8 0 0 0 0,0 7 0 0 0,3 3 0 0 0,11-1 0 0 0,6-2 0 0 0,2-2 0 0 0,7-2 0 0 0,8-1 0 0 0,8-2 0 0 0,6 1 0 0 0,11-2 0 0 0,12 1 0 0 0,10-1 0 0 0,14 1 0 0 0,8 0 0 0 0,3 0 0 0 0,5 0 0 0 0,9 0 0 0 0,-1 0 0 0 0,-4 0 0 0 0,-12 0 0 0 0,-1 0 0 0 0,-8 0 0 0 0,-4 0 0 0 0,0 0 0 0 0,-1 0 0 0 0,-5 0 0 0 0,-14 0 0 0 0,-11 0 0 0 0,-13 0 0 0 0,-4 0 0 0 0,-8 0 0 0 0,0 7 0 0 0,-4 2 0 0 0,-4 0 0 0 0,-5-2 0 0 0,-4-2 0 0 0,-9 5 0 0 0,-4 1 0 0 0,0-1 0 0 0,1-3 0 0 0,3-2 0 0 0,1 5 0 0 0,2 0 0 0 0,1 0 0 0 0,1 4 0 0 0,1 0 0 0 0,-1-3 0 0 0,-13-2 0 0 0,-19-4 0 0 0,-32-2 0 0 0,-26-2 0 0 0,-26-1 0 0 0,-21 0 0 0 0,-29-8 0 0 0,-22-1 0 0 0,-27-8 0 0 0,-20 0 0 0 0,-19-11 0 0 0,-22-1 0 0 0,-6 4 0 0 0,-11 7 0 0 0,-5 6 0 0 0,-1 6 0 0 0,15 3 0 0 0,15 2 0 0 0,10 2 0 0 0,8 0 0 0 0,4 0 0 0 0,9 0 0 0 0,10 0 0 0 0,23 0 0 0 0,18-1 0 0 0,13 0 0 0 0,15 0 0 0 0,21 0 0 0 0,12 0 0 0 0,14 0 0 0 0,12 0 0 0 0,24 0 0 0 0,23 0 0 0 0,22 0 0 0 0,23 0 0 0 0,20-7 0 0 0,22-3 0 0 0,19 1 0 0 0,22 2 0 0 0,19 2 0 0 0,14 2 0 0 0,11 1 0 0 0,5 2 0 0 0,18 0 0 0 0,26 0 0 0 0,19 0 0 0 0,21 1 0 0 0,10-1 0 0 0,2 0 0 0 0,-7 0 0 0 0,9 1 0 0 0,1-1 0 0 0,6 0 0 0 0,-2 0 0 0 0,-4 0 0 0 0,-5 0 0 0 0,-11 0 0 0 0,-27-1 0 0 0,-16 1 0 0 0,-15 0 0 0 0,-18 0 0 0 0,-18 0 0 0 0,-7 0 0 0 0,-7 7 0 0 0,-14 3 0 0 0,-14-1 0 0 0,-19-2 0 0 0,-11-2 0 0 0,-13-2 0 0 0,-11-1 0 0 0,-8-2 0 0 0,-20 1 0 0 0,-22-2 0 0 0,-19 1 0 0 0,-23-1 0 0 0,-25 1 0 0 0,-24 0 0 0 0,-27 0 0 0 0,-14 0 0 0 0,-16 0 0 0 0,-25 0 0 0 0,-26 0 0 0 0,-31 0 0 0 0,-26 0 0 0 0,-13 0 0 0 0,-11 0 0 0 0,5 0 0 0 0,0 0 0 0 0,9 0 0 0 0,7 0 0 0 0,4 0 0 0 0,9 0 0 0 0,10 0 0 0 0,8 0 0 0 0,22 0 0 0 0,22 0 0 0 0,13-7 0 0 0,21-3 0 0 0,13 1 0 0 0,15 2 0 0 0,20-5 0 0 0,32 0 0 0 0,41 1 0 0 0,52 3 0 0 0,42 3 0 0 0,37 2 0 0 0,27 2 0 0 0,33 1 0 0 0,29 0 0 0 0,30 1 0 0 0,40-1 0 0 0,36 1 0 0 0,23-1 0 0 0,26 0 0 0 0,8 0 0 0 0,-1 0 0 0 0,-12 0 0 0 0,-10 0 0 0 0,-21 0 0 0 0,-22 7 0 0 0,-19 3 0 0 0,-15 6 0 0 0,-24 0 0 0 0,-31-2 0 0 0,-30 3 0 0 0,-24-1 0 0 0,-31-3 0 0 0,-29-4 0 0 0,-38-4 0 0 0,-41-2 0 0 0,-38-2 0 0 0,-29-1 0 0 0,-33 0 0 0 0,-23-1 0 0 0,-22 0 0 0 0,-15 1 0 0 0,-19-1 0 0 0,-23 1 0 0 0,-29 0 0 0 0,-26 0 0 0 0,-22 0 0 0 0,-14 0 0 0 0,-16 0 0 0 0,-20 0 0 0 0,-14 0 0 0 0,-13 0 0 0 0,-12 0 0 0 0,5 0 0 0 0,13 0 0 0 0,14 0 0 0 0,14 0 0 0 0,23 0 0 0 0,32 0 0 0 0,32 0 0 0 0,39 0 0 0 0,29 0 0 0 0,34 0 0 0 0,44 0 0 0 0,49 0 0 0 0,42 0 0 0 0,48 0 0 0 0,33-7 0 0 0,28-2 0 0 0,28 0 0 0 0,30 2 0 0 0,26 1 0 0 0,20 3 0 0 0,13 2 0 0 0,6 0 0 0 0,12 1 0 0 0,10 0 0 0 0,1 1 0 0 0,10-1 0 0 0,7 0 0 0 0,4 1 0 0 0,1-1 0 0 0,-8 0 0 0 0,-9 0 0 0 0,-18 0 0 0 0,-16 0 0 0 0,-22 7 0 0 0,-28 2 0 0 0,-25 0 0 0 0,-26 5 0 0 0,-25 1 0 0 0,-23-3 0 0 0,-36-4 0 0 0,-48-2 0 0 0,-46-3 0 0 0,-60-1 0 0 0,-55-2 0 0 0,-50 0 0 0 0,-41-1 0 0 0,-42 0 0 0 0,-42-6 0 0 0,-36-10 0 0 0,-40-1 0 0 0,-29-5 0 0 0,-32-6 0 0 0,-7-5 0 0 0,13 4 0 0 0,28 7 0 0 0,32 7 0 0 0,41 6 0 0 0,39 5 0 0 0,32 4 0 0 0,36 1 0 0 0,40 1 0 0 0,42 0 0 0 0,34 1 0 0 0,56-1 0 0 0,60 0 0 0 0,77-1 0 0 0,70 0 0 0 0,54 0 0 0 0,39 0 0 0 0,31 0 0 0 0,14 0 0 0 0,11 0 0 0 0,7 0 0 0 0,5 0 0 0 0,1 0 0 0 0,8 0 0 0 0,2 0 0 0 0,6 0 0 0 0,-1 0 0 0 0,-9 0 0 0 0,-21 0 0 0 0,-29 0 0 0 0,-14 0 0 0 0,-20 0 0 0 0,-17 0 0 0 0,-14 0 0 0 0,-17 0 0 0 0,-29 0 0 0 0,-24 0 0 0 0,-25 0 0 0 0,-33 0 0 0 0,-40 0 0 0 0,-43 0 0 0 0,-46 0 0 0 0,-44 0 0 0 0,-44 0 0 0 0,-44 0 0 0 0,-21 0 0 0 0,-29 0 0 0 0,-12 0 0 0 0,-9 0 0 0 0,-14 0 0 0 0,-27 0 0 0 0,-9 0 0 0 0,3 0 0 0 0,7 0 0 0 0,16 0 0 0 0,31 0 0 0 0,27 0 0 0 0,19 0 0 0 0,27 0 0 0 0,34 0 0 0 0,30 0 0 0 0,52 0 0 0 0,54 0 0 0 0,60 0 0 0 0,66 0 0 0 0,66 0 0 0 0,54 0 0 0 0,46 0 0 0 0,34 0 0 0 0,16 0 0 0 0,10 0 0 0 0,14 0 0 0 0,11 0 0 0 0,-3 0 0 0 0,2 0 0 0 0,-2 0 0 0 0,-4 0 0 0 0,-11 0 0 0 0,-5 0 0 0 0,-17 0 0 0 0,-11 0 0 0 0,-15 0 0 0 0,-27 0 0 0 0,-22 0 0 0 0,-30 0 0 0 0,-28 0 0 0 0,-31 0 0 0 0,-32 0 0 0 0,-43 0 0 0 0,-47 0 0 0 0,-56 0 0 0 0,-50 0 0 0 0,-60 0 0 0 0,-47 0 0 0 0,-56 0 0 0 0,-48 0 0 0 0,-44 0 0 0 0,-35-7 0 0 0,-32-2 0 0 0,-37 0 0 0 0,-28 2 0 0 0,-11 2 0 0 0,-8 1 0 0 0,2 3 0 0 0,13 0 0 0 0,32 1 0 0 0,42 0 0 0 0,40 1 0 0 0,38-1 0 0 0,47 0 0 0 0,42 1 0 0 0,32-1 0 0 0,43 0 0 0 0,42 0 0 0 0,34 0 0 0 0,44 0 0 0 0,50 0 0 0 0,51 0 0 0 0,50 0 0 0 0,48 0 0 0 0,45 0 0 0 0,37 0 0 0 0,33 0 0 0 0,47 0 0 0 0,46 0 0 0 0,29 0 0 0 0,12 0 0 0 0,11 0 0 0 0,13 0 0 0 0,-12 0 0 0 0,-15 0 0 0 0,-20 0 0 0 0,-27 0 0 0 0,-25 0 0 0 0,-28 0 0 0 0,-38 0 0 0 0,-37 0 0 0 0,-30 0 0 0 0,-27 0 0 0 0,-31 0 0 0 0,-32 0 0 0 0,-49 0 0 0 0,-57 0 0 0 0,-64 0 0 0 0,-71 0 0 0 0,-56 0 0 0 0,-52 0 0 0 0,-43 0 0 0 0,-50 0 0 0 0,-39 0 0 0 0,-35 0 0 0 0,-17 0 0 0 0,-16 0 0 0 0,4 0 0 0 0,6 0 0 0 0,12 0 0 0 0,14 0 0 0 0,32 0 0 0 0,31 0 0 0 0,30 0 0 0 0,25 0 0 0 0,34 0 0 0 0,30 0 0 0 0,32 0 0 0 0,33 0 0 0 0,36 0 0 0 0,31 0 0 0 0,45 0 0 0 0,50 0 0 0 0,44 0 0 0 0,50 0 0 0 0,48-7 0 0 0,41-3 0 0 0,31 2 0 0 0,26 0 0 0 0,13 3 0 0 0,4 2 0 0 0,6 1 0 0 0,14 2 0 0 0,13 0 0 0 0,13 0 0 0 0,3 0 0 0 0,-4 1 0 0 0,-12-1 0 0 0,-14 0 0 0 0,-21 1 0 0 0,-27-1 0 0 0,-26 0 0 0 0,-20 0 0 0 0,-21 0 0 0 0,-26 0 0 0 0,-30 0 0 0 0,-27 0 0 0 0,-29-7 0 0 0,-30-3 0 0 0,-34 1 0 0 0,-30 2 0 0 0,-44 2 0 0 0,-57-5 0 0 0,-89-8 0 0 0,-90-15 0 0 0,-90-16 0 0 0,-59-6 0 0 0,-49-16 0 0 0,-35-1 0 0 0,-29-4 0 0 0,-7 5 0 0 0,5 7 0 0 0,17 7 0 0 0,34 14 0 0 0,51 14 0 0 0,58 12 0 0 0,59 8 0 0 0,63 7 0 0 0,60 3 0 0 0,58 1 0 0 0,52 1 0 0 0,49 7 0 0 0,51 1 0 0 0,52 6 0 0 0,56 0 0 0 0,58 5 0 0 0,55 5 0 0 0,50 4 0 0 0,47 6 0 0 0,31-5 0 0 0,31-8 0 0 0,25 0 0 0 0,6 2 0 0 0,1-3 0 0 0,-2-5 0 0 0,-3 0 0 0 0,-16-1 0 0 0,-14-5 0 0 0,-24-4 0 0 0,-17-3 0 0 0,-20-3 0 0 0,-23-2 0 0 0,-22 0 0 0 0,-23-1 0 0 0,-22 0 0 0 0,-22 1 0 0 0,-28-1 0 0 0,-32 1 0 0 0,-20 0 0 0 0,-21 0 0 0 0,-29 0 0 0 0,-37 0 0 0 0,-33 0 0 0 0,-33 0 0 0 0,-29 7 0 0 0,-27 2 0 0 0,-22 0 0 0 0,-23-2 0 0 0,-20-2 0 0 0,-21-2 0 0 0,-19-1 0 0 0,-14-1 0 0 0,-17-1 0 0 0,-14 6 0 0 0,-5 3 0 0 0,1 0 0 0 0,4 5 0 0 0,13 7 0 0 0,6 0 0 0 0,17-3 0 0 0,19 2 0 0 0,24-3 0 0 0,30-3 0 0 0,26-5 0 0 0,29-4 0 0 0,46-2 0 0 0,45-2 0 0 0,53-2 0 0 0,53 1 0 0 0,60-1 0 0 0,45 0 0 0 0,44 0 0 0 0,37 1 0 0 0,33 0 0 0 0,19 0 0 0 0,15 0 0 0 0,12 0 0 0 0,14 0 0 0 0,0 0 0 0 0,-9 0 0 0 0,-3 0 0 0 0,-15 0 0 0 0,-24 0 0 0 0,-19 0 0 0 0,-26 0 0 0 0,-25 0 0 0 0,-36 0 0 0 0,-26 0 0 0 0,-33 0 0 0 0,-36 0 0 0 0,-60 0 0 0 0,-83 0 0 0 0,-81 0 0 0 0,-79 0 0 0 0,-72 0 0 0 0,-57 0 0 0 0,-45 0 0 0 0,-27 0 0 0 0,-25 0 0 0 0,-22 0 0 0 0,-14 0 0 0 0,-3 0 0 0 0,11 0 0 0 0,16 7 0 0 0,30 2 0 0 0,32 7 0 0 0,26 1 0 0 0,28 4 0 0 0,37-2 0 0 0,35 4 0 0 0,36-3 0 0 0,43 3 0 0 0,41-3 0 0 0,31-5 0 0 0,43-4 0 0 0,49-5 0 0 0,43-3 0 0 0,40-3 0 0 0,45 0 0 0 0,48-1 0 0 0,40 0 0 0 0,38 0 0 0 0,43 1 0 0 0,31-1 0 0 0,15 1 0 0 0,2 0 0 0 0,-4 0 0 0 0,-6 0 0 0 0,-14 0 0 0 0,-14 0 0 0 0,-13 0 0 0 0,-16 0 0 0 0,-24 0 0 0 0,-28 0 0 0 0,-21 0 0 0 0,-19 0 0 0 0,-23 0 0 0 0,-27 0 0 0 0,-32 0 0 0 0,-30 0 0 0 0,-43 0 0 0 0,-50 0 0 0 0,-53 0 0 0 0,-44-7 0 0 0,-61-2 0 0 0,-52 0 0 0 0,-39 2 0 0 0,-24-5 0 0 0,-22-1 0 0 0,-23 2 0 0 0,-5 4 0 0 0,-10 2 0 0 0,-4 2 0 0 0,0 1 0 0 0,3 2 0 0 0,9 0 0 0 0,12 1 0 0 0,18-1 0 0 0,32 1 0 0 0,33-1 0 0 0,29 0 0 0 0,35 1 0 0 0,40-1 0 0 0,56 0 0 0 0,69 0 0 0 0,64 0 0 0 0,56 0 0 0 0,59 0 0 0 0,48 0 0 0 0,43 0 0 0 0,26 0 0 0 0,20 0 0 0 0,12 0 0 0 0,23 0 0 0 0,8 0 0 0 0,14 0 0 0 0,1 0 0 0 0,8 0 0 0 0,-11 0 0 0 0,-11 0 0 0 0,-17 0 0 0 0,-17 0 0 0 0,-27 0 0 0 0,-22 0 0 0 0,-29 0 0 0 0,-34 0 0 0 0,-32 0 0 0 0,-32 0 0 0 0,-33 0 0 0 0,-28 0 0 0 0,-43 0 0 0 0,-49 0 0 0 0,-37 0 0 0 0,-38 0 0 0 0,-34 0 0 0 0,-31 0 0 0 0,-19 0 0 0 0,-8 7 0 0 0,-10 2 0 0 0,-8 7 0 0 0,-6 0 0 0 0,-12 5 0 0 0,-4 6 0 0 0,-7 5 0 0 0,-9 4 0 0 0,8 3 0 0 0,14-5 0 0 0,0-1 0 0 0,8 0 0 0 0,10-4 0 0 0,17-2 0 0 0,17 3 0 0 0,22-4 0 0 0,19 0 0 0 0,23-3 0 0 0,49-7 0 0 0,52-5 0 0 0,54-6 0 0 0,58-2 0 0 0,58-2 0 0 0,48-2 0 0 0,28 0 0 0 0,20 0 0 0 0,12-7 0 0 0,14-2 0 0 0,6 0 0 0 0,-8 3 0 0 0,-18 2 0 0 0,-16 1 0 0 0,-3 3 0 0 0,-10 0 0 0 0,-13 1 0 0 0,-12 1 0 0 0,-9-1 0 0 0,-27 0 0 0 0,-32 1 0 0 0,-28-1 0 0 0,-22 0 0 0 0,-37 0 0 0 0,-58 0 0 0 0,-66-7 0 0 0,-80-2 0 0 0,-94-14 0 0 0,-107-10 0 0 0,-80-6 0 0 0,-82-11 0 0 0,-62-3 0 0 0,-54-15 0 0 0,-36-9 0 0 0,-26 2 0 0 0,-11 6 0 0 0,-1 7 0 0 0,32 16 0 0 0,65 14 0 0 0,62 14 0 0 0,72 9 0 0 0,78 6 0 0 0,83 4 0 0 0,70 1 0 0 0,88 1 0 0 0,101 0 0 0 0,100-8 0 0 0,88-3 0 0 0,73 0 0 0 0,63 1 0 0 0,52 2 0 0 0,45 2 0 0 0,34 1 0 0 0,10 2 0 0 0,-6 0 0 0 0,-25 0 0 0 0,-32 0 0 0 0,-29 0 0 0 0,-22 1 0 0 0,-23-1 0 0 0,-26 0 0 0 0,-23 0 0 0 0,-25 0 0 0 0,-29 0 0 0 0,-31 0 0 0 0,-30 0 0 0 0,-29 0 0 0 0,-46 0 0 0 0,-52 0 0 0 0,-48 0 0 0 0,-44 0 0 0 0,-27 0 0 0 0,-22 0 0 0 0,-15 0 0 0 0,-2 0 0 0 0,4 0 0 0 0,8 0 0 0 0,13 0 0 0 0,10 0 0 0 0,3 7 0 0 0,16 2 0 0 0,10 7 0 0 0,15 1 0 0 0,13-3 0 0 0,19 3 0 0 0,22-1 0 0 0,31-3 0 0 0,35-4 0 0 0,38-4 0 0 0,33-2 0 0 0,33-2 0 0 0,34-1 0 0 0,21 0 0 0 0,18-1 0 0 0,15 0 0 0 0,2 1 0 0 0,3-1 0 0 0,-4 1 0 0 0,-7 0 0 0 0,-14 0 0 0 0,-16 0 0 0 0,-13 0 0 0 0,-17 0 0 0 0,-23 0 0 0 0,-22 0 0 0 0,-26 0 0 0 0,-42 0 0 0 0,-52 7 0 0 0,-48 2 0 0 0,-44 0 0 0 0,-42-2 0 0 0,-26-2 0 0 0,-23 6 0 0 0,-7 0 0 0 0,-8-2 0 0 0,-6-2 0 0 0,4-2 0 0 0,7-2 0 0 0,0-2 0 0 0,6-1 0 0 0,12 0 0 0 0,7 0 0 0 0,18-1 0 0 0,27 8 0 0 0,27 2 0 0 0,36 0 0 0 0,42-2 0 0 0,51-2 0 0 0,55-2 0 0 0,47-1 0 0 0,42-2 0 0 0,33 0 0 0 0,7 0 0 0 0,10-7 0 0 0,-8-3 0 0 0,-5 1 0 0 0,-6 1 0 0 0,-9 3 0 0 0,-12 2 0 0 0,-17 1 0 0 0,-17 1 0 0 0,-14 1 0 0 0,-17 1 0 0 0,-22-1 0 0 0,-23 1 0 0 0,-31-1 0 0 0,-38 0 0 0 0,-49 0 0 0 0,-47 0 0 0 0,-50 0 0 0 0,-44 0 0 0 0,-34 0 0 0 0,-23 0 0 0 0,-13 0 0 0 0,0 0 0 0 0,15 0 0 0 0,26 0 0 0 0,20 0 0 0 0,22 0 0 0 0,24 7 0 0 0,23 3 0 0 0,10-1 0 0 0,17-2 0 0 0,38-2 0 0 0,49-2 0 0 0,47-1 0 0 0,50-2 0 0 0,46 0 0 0 0,34 0 0 0 0,30 0 0 0 0,15-1 0 0 0,6 1 0 0 0,-6 0 0 0 0,-6 0 0 0 0,-3 0 0 0 0,-10-1 0 0 0,-9 1 0 0 0,-17 0 0 0 0,-23 0 0 0 0,-23 1 0 0 0,-19-1 0 0 0,-13 0 0 0 0,-16 0 0 0 0,-29 0 0 0 0,-36 0 0 0 0,-41 0 0 0 0,-44 0 0 0 0,-45 0 0 0 0,-45 0 0 0 0,-43 0 0 0 0,-30 0 0 0 0,-16 0 0 0 0,-1 0 0 0 0,7 0 0 0 0,11 0 0 0 0,10 0 0 0 0,7 0 0 0 0,14 0 0 0 0,12 0 0 0 0,18 0 0 0 0,18 0 0 0 0,21 0 0 0 0,25 0 0 0 0,19 0 0 0 0,16 0 0 0 0,36 0 0 0 0,45 0 0 0 0,49 0 0 0 0,37 0 0 0 0,36 0 0 0 0,40 0 0 0 0,32 0 0 0 0,25 0 0 0 0,22 0 0 0 0,12 0 0 0 0,3 0 0 0 0,13 0 0 0 0,2 0 0 0 0,-4 0 0 0 0,-7 0 0 0 0,-7 0 0 0 0,-12 0 0 0 0,-21 0 0 0 0,-20 0 0 0 0,-25 0 0 0 0,-36 0 0 0 0,-36 0 0 0 0,-44 0 0 0 0,-61 0 0 0 0,-66 0 0 0 0,-79 0 0 0 0,-72 0 0 0 0,-56 0 0 0 0,-38 0 0 0 0,-38 0 0 0 0,-9 0 0 0 0,0 0 0 0 0,10 0 0 0 0,7 0 0 0 0,20 0 0 0 0,20 0 0 0 0,20 0 0 0 0,34 0 0 0 0,38 0 0 0 0,33 0 0 0 0,31 0 0 0 0,33 0 0 0 0,48 0 0 0 0,48 0 0 0 0,62 0 0 0 0,70 0 0 0 0,57 0 0 0 0,55 0 0 0 0,43 0 0 0 0,38 0 0 0 0,36 0 0 0 0,14 0 0 0 0,2 0 0 0 0,8 0 0 0 0,-3 0 0 0 0,-15 0 0 0 0,-13 0 0 0 0,-8 0 0 0 0,-12 0 0 0 0,-19 0 0 0 0,-26 0 0 0 0,-33 0 0 0 0,-29 0 0 0 0,-31 0 0 0 0,-32 0 0 0 0,-29 0 0 0 0,-28 0 0 0 0,-37 7 0 0 0,-44 2 0 0 0,-51 0 0 0 0,-41-2 0 0 0,-36 5 0 0 0,-40 1 0 0 0,-36 4 0 0 0,-22 0 0 0 0,-16 4 0 0 0,-5 13 0 0 0,2 0 0 0 0,5 1 0 0 0,-1 2 0 0 0,9 2 0 0 0,7 1 0 0 0,11-6 0 0 0,19-3 0 0 0,18-5 0 0 0,16-1 0 0 0,26-4 0 0 0,26-6 0 0 0,43-6 0 0 0,45-4 0 0 0,50-10 0 0 0,40-11 0 0 0,33-17 0 0 0,32-10 0 0 0,19-4 0 0 0,1-2 0 0 0,1 1 0 0 0,-2 1 0 0 0,-7 2 0 0 0,-10 2 0 0 0,-10 1 0 0 0,-15 7 0 0 0,-22 3 0 0 0,-22 7 0 0 0,-38 8 0 0 0,-48 6 0 0 0,-44 6 0 0 0,-36 3 0 0 0,-37 2 0 0 0,-28 1 0 0 0,-15 8 0 0 0,-8 1 0 0 0,3 7 0 0 0,4 1 0 0 0,1 3 0 0 0,7-1 0 0 0,17 3 0 0 0,11-3 0 0 0,13 3 0 0 0,20-3 0 0 0,18-5 0 0 0,38-5 0 0 0,38-4 0 0 0,35-10 0 0 0,25-4 0 0 0,17-16 0 0 0,16-9 0 0 0,15-8 0 0 0,9-2 0 0 0,7-2 0 0 0,3 0 0 0 0,-5 8 0 0 0,-2 9 0 0 0,-7 4 0 0 0,-9 5 0 0 0,-7 6 0 0 0,-13 5 0 0 0,-7 4 0 0 0,-8 3 0 0 0,-9 1 0 0 0,-22 1 0 0 0,-23 1 0 0 0,-21 6 0 0 0,-17 2 0 0 0,-10 6 0 0 0,-7 8 0 0 0,-3 0 0 0 0,-1 2 0 0 0,0-3 0 0 0,2 2 0 0 0,0-4 0 0 0,15-5 0 0 0,27-5 0 0 0,20-5 0 0 0,22-10 0 0 0,17-5 0 0 0,14-7 0 0 0,1-9 0 0 0,3 1 0 0 0,-5 4 0 0 0,-7-2 0 0 0,-21 3 0 0 0,-25 5 0 0 0,-29 5 0 0 0,-27 3 0 0 0,-27 4 0 0 0,-25 8 0 0 0,-16 11 0 0 0,-12 2 0 0 0,-7 5 0 0 0,4-1 0 0 0,3 1 0 0 0,-1 5 0 0 0,7-3 0 0 0,8 1 0 0 0,1-4 0 0 0,11 1 0 0 0,15-3 0 0 0,34-6 0 0 0,32-12 0 0 0,32-13 0 0 0,26-13 0 0 0,20-9 0 0 0,19 1 0 0 0,17-1 0 0 0,5-3 0 0 0,-2-2 0 0 0,-5-1 0 0 0,-5 5 0 0 0,-12 8 0 0 0,-13 2 0 0 0,-11 5 0 0 0,-23 4 0 0 0,-25 6 0 0 0,-20 4 0 0 0,-24 2 0 0 0,-20 2 0 0 0,-7 1 0 0 0,-2 7 0 0 0,4 3 0 0 0,4-2 0 0 0,5 6 0 0 0,3 0 0 0 0,9 4 0 0 0,19-1 0 0 0,26-3 0 0 0,25-5 0 0 0,29-3 0 0 0,17-11 0 0 0,10-4 0 0 0,3-8 0 0 0,-6-1 0 0 0,-5-5 0 0 0,-8 2 0 0 0,-3 4 0 0 0,-6 4 0 0 0,-22 5 0 0 0,-24 10 0 0 0,-15 12 0 0 0,-16 4 0 0 0,-5 4 0 0 0,-6 0 0 0 0,0 2 0 0 0,-3-3 0 0 0,4 2 0 0 0,13-3 0 0 0,14-6 0 0 0,14-5 0 0 0,11-4 0 0 0,15-3 0 0 0,13-2 0 0 0,12-8 0 0 0,8-4 0 0 0,4-6 0 0 0,-4 0 0 0 0,-1 2 0 0 0,-6 4 0 0 0,-9 4 0 0 0,-7 3 0 0 0,-20 3 0 0 0,-16 7 0 0 0,-18 4 0 0 0,-15 0 0 0 0,-7 5 0 0 0,-5 0 0 0 0,-5 4 0 0 0,-5 0 0 0 0,4 3 0 0 0,1-3 0 0 0,6 4 0 0 0,0-3 0 0 0,5-5 0 0 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0-02T14:35:57.676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11643 13947 16383 0 0,'-29'0'0'0'0,"-89"0"0"0"0,-92 10 0 0 0,-61 3 0 0 0,-51 9 0 0 0,-12 1 0 0 0,-7-3 0 0 0,5-5 0 0 0,1-6 0 0 0,8-4 0 0 0,1-2 0 0 0,7-3 0 0 0,18 0 0 0 0,2-1 0 0 0,32 0 0 0 0,31 0 0 0 0,37 0 0 0 0,33 1 0 0 0,24 0 0 0 0,27 0 0 0 0,23 0 0 0 0,18 0 0 0 0,11 0 0 0 0,6 0 0 0 0,24 0 0 0 0,26 0 0 0 0,34 0 0 0 0,43 0 0 0 0,38 0 0 0 0,20 0 0 0 0,29 0 0 0 0,15 0 0 0 0,20-10 0 0 0,15-13 0 0 0,51-12 0 0 0,70-11 0 0 0,58-6 0 0 0,32-5 0 0 0,4-2 0 0 0,-1-2 0 0 0,-14 11 0 0 0,-16 13 0 0 0,-7 13 0 0 0,-9 11 0 0 0,-30-3 0 0 0,-43 2 0 0 0,-25 3 0 0 0,-39 4 0 0 0,-31 2 0 0 0,-31 3 0 0 0,-25 1 0 0 0,-30 1 0 0 0,-24 1 0 0 0,-20 0 0 0 0,-42-1 0 0 0,-67 1 0 0 0,-96-1 0 0 0,-105 0 0 0 0,-130 0 0 0 0,-142 0 0 0 0,-131 0 0 0 0,-86 0 0 0 0,-37 0 0 0 0,-38 0 0 0 0,-10 0 0 0 0,24-10 0 0 0,56-22 0 0 0,74-17 0 0 0,50-8 0 0 0,48 4 0 0 0,51 2 0 0 0,41 0 0 0 0,51 8 0 0 0,76 12 0 0 0,66 1 0 0 0,48 6 0 0 0,53 6 0 0 0,36 7 0 0 0,30 6 0 0 0,13 2 0 0 0,32 3 0 0 0,35-9 0 0 0,52-2 0 0 0,49 0 0 0 0,32 2 0 0 0,27 2 0 0 0,48 3 0 0 0,32 2 0 0 0,49 1 0 0 0,76 1 0 0 0,79 1 0 0 0,55-1 0 0 0,36-9 0 0 0,-20-4 0 0 0,-16 1 0 0 0,-19 2 0 0 0,-39 3 0 0 0,-22 3 0 0 0,-9 1 0 0 0,-21 3 0 0 0,-15-1 0 0 0,-37 2 0 0 0,-32-1 0 0 0,-36 1 0 0 0,-19-1 0 0 0,-30 1 0 0 0,2-1 0 0 0,-4 0 0 0 0,-16 0 0 0 0,-8 0 0 0 0,-24 0 0 0 0,-27 10 0 0 0,-4 3 0 0 0,-13-1 0 0 0,-23 8 0 0 0,-16 0 0 0 0,-18 7 0 0 0,-47 8 0 0 0,-52-1 0 0 0,-67 3 0 0 0,-81 14 0 0 0,-86 0 0 0 0,-81-10 0 0 0,-87-11 0 0 0,-54-12 0 0 0,-49-7 0 0 0,-27-7 0 0 0,-3-4 0 0 0,21-1 0 0 0,37-2 0 0 0,50 1 0 0 0,68 0 0 0 0,64 1 0 0 0,72 0 0 0 0,53 1 0 0 0,55 0 0 0 0,37 0 0 0 0,30 0 0 0 0,22 0 0 0 0,16 0 0 0 0,28 0 0 0 0,29 10 0 0 0,26 3 0 0 0,39-1 0 0 0,49-2 0 0 0,35 7 0 0 0,33 1 0 0 0,25-3 0 0 0,38-4 0 0 0,8 6 0 0 0,20 0 0 0 0,24 7 0 0 0,12-1 0 0 0,32-4 0 0 0,28 5 0 0 0,22-2 0 0 0,13-5 0 0 0,8 5 0 0 0,-16-2 0 0 0,-5-4 0 0 0,-10-4 0 0 0,-19-5 0 0 0,-21 6 0 0 0,-39 1 0 0 0,-29-1 0 0 0,-41-4 0 0 0,-30 7 0 0 0,-38 1 0 0 0,-36-3 0 0 0,-29-4 0 0 0,-20-3 0 0 0,-24 7 0 0 0,-48 10 0 0 0,-74 12 0 0 0,-54-1 0 0 0,-54-6 0 0 0,-36-8 0 0 0,-40-8 0 0 0,-45-5 0 0 0,-30-5 0 0 0,-17-3 0 0 0,1-1 0 0 0,21 0 0 0 0,7-1 0 0 0,18 1 0 0 0,32 0 0 0 0,42 0 0 0 0,40 1 0 0 0,22 0 0 0 0,20 0 0 0 0,25 0 0 0 0,14 0 0 0 0,5 0 0 0 0,10 0 0 0 0,11 0 0 0 0,9 0 0 0 0,8 0 0 0 0,4 0 0 0 0,3 0 0 0 0,20 0 0 0 0,37-10 0 0 0,28-3 0 0 0,19 1 0 0 0,21 2 0 0 0,29 3 0 0 0,27-8 0 0 0,61-10 0 0 0,48-11 0 0 0,73 0 0 0 0,53 7 0 0 0,44 8 0 0 0,32 8 0 0 0,1 5 0 0 0,5 5 0 0 0,-23 3 0 0 0,-54 1 0 0 0,-49 1 0 0 0,-59-1 0 0 0,-53 0 0 0 0,-51 0 0 0 0,-42 0 0 0 0,-59-1 0 0 0,-58 0 0 0 0,-67 0 0 0 0,-60 0 0 0 0,-47 0 0 0 0,-70 0 0 0 0,-63 0 0 0 0,-55 0 0 0 0,-44-10 0 0 0,-20-3 0 0 0,24 1 0 0 0,33-8 0 0 0,50 0 0 0 0,42-7 0 0 0,20 2 0 0 0,35 4 0 0 0,27 7 0 0 0,29 4 0 0 0,23 6 0 0 0,28 2 0 0 0,5 2 0 0 0,13 1 0 0 0,14 0 0 0 0,12 0 0 0 0,1 0 0 0 0,3-1 0 0 0,33 1 0 0 0,34-1 0 0 0,38 0 0 0 0,23 0 0 0 0,13 0 0 0 0,4 0 0 0 0,10 0 0 0 0,1 0 0 0 0,6 0 0 0 0,8 0 0 0 0,7 0 0 0 0,16 0 0 0 0,16 0 0 0 0,6 0 0 0 0,-12 10 0 0 0,-18 3 0 0 0,-17-1 0 0 0,-16-2 0 0 0,-11-3 0 0 0,-17 8 0 0 0,-17 10 0 0 0,-14 11 0 0 0,-20 10 0 0 0,-19-4 0 0 0,-27-9 0 0 0,-24-9 0 0 0,-30-10 0 0 0,-18-6 0 0 0,-7-6 0 0 0,-13-2 0 0 0,-1-1 0 0 0,12-1 0 0 0,9 0 0 0 0,5 0 0 0 0,12 1 0 0 0,14 1 0 0 0,11-1 0 0 0,10 1 0 0 0,16 10 0 0 0,26 3 0 0 0,27 0 0 0 0,24-3 0 0 0,26-3 0 0 0,15-3 0 0 0,5-1 0 0 0,1-2 0 0 0,-3-1 0 0 0,17-1 0 0 0,3 1 0 0 0,6-1 0 0 0,-4 1 0 0 0,2 0 0 0 0,-4-1 0 0 0,-9 1 0 0 0,-27 0 0 0 0,-33 0 0 0 0,-49 0 0 0 0,-40 0 0 0 0,-58 0 0 0 0,-36 0 0 0 0,-20 0 0 0 0,1 0 0 0 0,12-10 0 0 0,5-3 0 0 0,11 1 0 0 0,11 2 0 0 0,21 3 0 0 0,21 2 0 0 0,17 3 0 0 0,13 1 0 0 0,9 1 0 0 0,5 0 0 0 0,2 1 0 0 0,10-10 0 0 0,23-14 0 0 0,24-2 0 0 0,22 3 0 0 0,36 5 0 0 0,17 5 0 0 0,6 5 0 0 0,7-6 0 0 0,19-1 0 0 0,9 2 0 0 0,5 3 0 0 0,10 3 0 0 0,3 3 0 0 0,-3 1 0 0 0,-5 2 0 0 0,-4 0 0 0 0,-4 0 0 0 0,-13 1 0 0 0,-5 0 0 0 0,-10-1 0 0 0,-11 0 0 0 0,-10 0 0 0 0,-17-9 0 0 0,-28-4 0 0 0,-28-10 0 0 0,-23 0 0 0 0,-19 4 0 0 0,-10 4 0 0 0,-7 6 0 0 0,-3 3 0 0 0,9 4 0 0 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0-02T14:35:57.677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7236 14054 16383 0 0,'-10'0'0'0'0,"-13"0"0"0"0,-12 0 0 0 0,-11 0 0 0 0,14 0 0 0 0,20 0 0 0 0,34-10 0 0 0,21-3 0 0 0,14 1 0 0 0,-12-8 0 0 0,-34-10 0 0 0,-49-10 0 0 0,-36-8 0 0 0,-46-25 0 0 0,-21 0 0 0 0,-17-8 0 0 0,-11 1 0 0 0,-6 4 0 0 0,-3 5 0 0 0,10-6 0 0 0,13 12 0 0 0,4 6 0 0 0,17 13 0 0 0,23 15 0 0 0,19 12 0 0 0,16 9 0 0 0,31 7 0 0 0,33 4 0 0 0,37 2 0 0 0,35-1 0 0 0,17 1 0 0 0,15 19 0 0 0,11 5 0 0 0,28 9 0 0 0,20 7 0 0 0,45 7 0 0 0,17 4 0 0 0,12 3 0 0 0,-12-8 0 0 0,-23-3 0 0 0,-15 1 0 0 0,-26 2 0 0 0,-30 3 0 0 0,-5 1 0 0 0,-12 3 0 0 0,-14-9 0 0 0,-12-2 0 0 0,-19 1 0 0 0,-19 2 0 0 0,-16 3 0 0 0,-11 3 0 0 0,-19-9 0 0 0,-26-1 0 0 0,-37-8 0 0 0,-27-11 0 0 0,-16-9 0 0 0,-8-8 0 0 0,-12-4 0 0 0,-14-4 0 0 0,-1-1 0 0 0,15-1 0 0 0,21 0 0 0 0,9 0 0 0 0,4 1 0 0 0,8 0 0 0 0,0 1 0 0 0,-3 0 0 0 0,-16-10 0 0 0,2-3 0 0 0,9-9 0 0 0,13-1 0 0 0,10 3 0 0 0,9 6 0 0 0,6 4 0 0 0,14-5 0 0 0,4 0 0 0 0,1-8 0 0 0,8-9 0 0 0,9-10 0 0 0,9-7 0 0 0,18-5 0 0 0,18-3 0 0 0,26-2 0 0 0,34 9 0 0 0,23 14 0 0 0,15 12 0 0 0,26 10 0 0 0,28 8 0 0 0,54 5 0 0 0,28 2 0 0 0,0 12 0 0 0,-23 2 0 0 0,-31 0 0 0 0,-30-3 0 0 0,-34-4 0 0 0,-30-3 0 0 0,-13-2 0 0 0,-2 7 0 0 0,-8 3 0 0 0,-17 9 0 0 0,-39 1 0 0 0,-63-5 0 0 0,-46-4 0 0 0,-47-4 0 0 0,-31-5 0 0 0,-18-3 0 0 0,2-2 0 0 0,11 0 0 0 0,5-1 0 0 0,20 0 0 0 0,34 0 0 0 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0-02T14:35:57.678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9114 13730 16383 0 0,'10'0'0'0'0,"-16"0"0"0"0,-28 0 0 0 0,-46-10 0 0 0,-39-13 0 0 0,-39-12 0 0 0,-22-1 0 0 0,0 7 0 0 0,1 7 0 0 0,2 8 0 0 0,11 6 0 0 0,24 5 0 0 0,16 2 0 0 0,21 2 0 0 0,7 1 0 0 0,12-1 0 0 0,10 1 0 0 0,8-1 0 0 0,6-1 0 0 0,33 1 0 0 0,31-1 0 0 0,35 0 0 0 0,41 0 0 0 0,36 0 0 0 0,29 0 0 0 0,29 0 0 0 0,14 0 0 0 0,16 0 0 0 0,2 0 0 0 0,6 0 0 0 0,-13 0 0 0 0,-11 0 0 0 0,-7 0 0 0 0,-5 0 0 0 0,7 0 0 0 0,3 0 0 0 0,9 0 0 0 0,1 0 0 0 0,-3 0 0 0 0,15 0 0 0 0,-18 0 0 0 0,-20 0 0 0 0,-30 0 0 0 0,-58 0 0 0 0,-62 0 0 0 0,-63 0 0 0 0,-64 0 0 0 0,-52 0 0 0 0,-38 0 0 0 0,-25 0 0 0 0,-43 0 0 0 0,-15 0 0 0 0,1 0 0 0 0,-10 0 0 0 0,-5 0 0 0 0,8 0 0 0 0,24 0 0 0 0,28 0 0 0 0,23 0 0 0 0,20 0 0 0 0,-7 0 0 0 0,-28 0 0 0 0,-15 0 0 0 0,-5 0 0 0 0,0 0 0 0 0,3 0 0 0 0,14 0 0 0 0,17 0 0 0 0,14 0 0 0 0,13 0 0 0 0,9 0 0 0 0,4 0 0 0 0,13 0 0 0 0,14 0 0 0 0,3 0 0 0 0,5 0 0 0 0,18 0 0 0 0,9 0 0 0 0,4 0 0 0 0,10 0 0 0 0,13 0 0 0 0,11 0 0 0 0,-12 0 0 0 0,-1 0 0 0 0,4 0 0 0 0,7 0 0 0 0,7 0 0 0 0,4 0 0 0 0,5 0 0 0 0,1 0 0 0 0,32 0 0 0 0,49 0 0 0 0,50 0 0 0 0,43 0 0 0 0,21 0 0 0 0,7 0 0 0 0,9 0 0 0 0,8 0 0 0 0,16 0 0 0 0,17 0 0 0 0,45 0 0 0 0,30 0 0 0 0,20 0 0 0 0,-1 0 0 0 0,-9 0 0 0 0,-33 0 0 0 0,-38 0 0 0 0,-25 0 0 0 0,-24 0 0 0 0,-18 0 0 0 0,-15 0 0 0 0,-18 0 0 0 0,-17 0 0 0 0,-5 0 0 0 0,-6 0 0 0 0,2 0 0 0 0,-3 0 0 0 0,-4 0 0 0 0,-5 0 0 0 0,-25 0 0 0 0,-28 0 0 0 0,-28-10 0 0 0,-31-13 0 0 0,-19-3 0 0 0,-17 4 0 0 0,-6-5 0 0 0,-8 2 0 0 0,3 6 0 0 0,15 6 0 0 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0-01T14:42:40.478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26591 9472 16383 0 0,'0'0'0'0'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0-01T14:42:40.479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28416 9340 16383 0 0,'0'0'0'0'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0-01T14:42:40.480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7493 19026 16383 0 0,'7'0'0'0'0,"9"0"0"0"0,16 0 0 0 0,24 0 0 0 0,16 0 0 0 0,17 0 0 0 0,14 0 0 0 0,18 0 0 0 0,24 0 0 0 0,28-7 0 0 0,21-2 0 0 0,11 0 0 0 0,14-5 0 0 0,12-1 0 0 0,8 3 0 0 0,-1 3 0 0 0,-7 4 0 0 0,-6 2 0 0 0,-15 1 0 0 0,-14 2 0 0 0,-19 0 0 0 0,-27 1 0 0 0,-24-1 0 0 0,-19 1 0 0 0,-22-1 0 0 0,-24-6 0 0 0,-30-4 0 0 0,-35 2 0 0 0,-37 0 0 0 0,-32 3 0 0 0,-26 2 0 0 0,-31-6 0 0 0,-27-1 0 0 0,-45-6 0 0 0,-28-7 0 0 0,-40 0 0 0 0,-29-3 0 0 0,-48-3 0 0 0,-28 2 0 0 0,-14-1 0 0 0,11 4 0 0 0,13 7 0 0 0,27 5 0 0 0,35 6 0 0 0,42 3 0 0 0,37 3 0 0 0,35 0 0 0 0,36 1 0 0 0,38 1 0 0 0,30-1 0 0 0,37-1 0 0 0,41 8 0 0 0,49 2 0 0 0,39 6 0 0 0,41 0 0 0 0,27 5 0 0 0,38-1 0 0 0,36 2 0 0 0,22-1 0 0 0,12 1 0 0 0,17-2 0 0 0,13-4 0 0 0,12-6 0 0 0,5-4 0 0 0,7-3 0 0 0,20-2 0 0 0,4-2 0 0 0,0 1 0 0 0,-14-1 0 0 0,-13 0 0 0 0,-17 0 0 0 0,-15 1 0 0 0,-28-1 0 0 0,-19 1 0 0 0,-29 0 0 0 0,-20 0 0 0 0,-27 0 0 0 0,-31 7 0 0 0,-31 3 0 0 0,-23-2 0 0 0,-30 0 0 0 0,-36-3 0 0 0,-46-2 0 0 0,-37-1 0 0 0,-39-2 0 0 0,-42 0 0 0 0,-35 0 0 0 0,-33 0 0 0 0,-27-1 0 0 0,-19 1 0 0 0,-18 0 0 0 0,-8 0 0 0 0,-2-1 0 0 0,1 1 0 0 0,4 0 0 0 0,-4 0 0 0 0,8 0 0 0 0,11 0 0 0 0,20 0 0 0 0,19 1 0 0 0,31-1 0 0 0,30 0 0 0 0,25 0 0 0 0,27 0 0 0 0,27 0 0 0 0,47 0 0 0 0,47 0 0 0 0,46 0 0 0 0,45 0 0 0 0,37 0 0 0 0,34 0 0 0 0,33 0 0 0 0,28 0 0 0 0,12 0 0 0 0,11 0 0 0 0,14 0 0 0 0,14 0 0 0 0,4 0 0 0 0,-8 0 0 0 0,-6 0 0 0 0,-11 0 0 0 0,-12 0 0 0 0,-3 0 0 0 0,-11 0 0 0 0,-15 0 0 0 0,-21 0 0 0 0,-27 0 0 0 0,-25 0 0 0 0,-55 0 0 0 0,-69 0 0 0 0,-76 0 0 0 0,-76 0 0 0 0,-61 0 0 0 0,-52 0 0 0 0,-37-8 0 0 0,-38-1 0 0 0,-11 0 0 0 0,-3 2 0 0 0,3 2 0 0 0,3 2 0 0 0,19 1 0 0 0,22 2 0 0 0,35-1 0 0 0,35 2 0 0 0,36-1 0 0 0,30 1 0 0 0,37-1 0 0 0,26 0 0 0 0,45 0 0 0 0,68 7 0 0 0,74 3 0 0 0,72 6 0 0 0,80 0 0 0 0,70-2 0 0 0,53-4 0 0 0,36-3 0 0 0,7-3 0 0 0,-8-2 0 0 0,-16-2 0 0 0,-8 0 0 0 0,-18-1 0 0 0,-12 0 0 0 0,-16 1 0 0 0,-12-1 0 0 0,-18 1 0 0 0,-17 0 0 0 0,-26 0 0 0 0,-29 0 0 0 0,-23 0 0 0 0,-25 0 0 0 0,-27 0 0 0 0,-32 0 0 0 0,-28 0 0 0 0,-49 0 0 0 0,-53 0 0 0 0,-51 0 0 0 0,-50 0 0 0 0,-46-7 0 0 0,-39-10 0 0 0,-25-1 0 0 0,-18-5 0 0 0,-15 2 0 0 0,-7 3 0 0 0,2 6 0 0 0,9 5 0 0 0,14 3 0 0 0,13 3 0 0 0,17 1 0 0 0,24 0 0 0 0,23 1 0 0 0,25 0 0 0 0,30 0 0 0 0,26 0 0 0 0,20 6 0 0 0,36 10 0 0 0,43 1 0 0 0,40 5 0 0 0,53-2 0 0 0,43 4 0 0 0,45-4 0 0 0,31-5 0 0 0,27 2 0 0 0,18-2 0 0 0,13-4 0 0 0,6-4 0 0 0,-4-3 0 0 0,-1-3 0 0 0,-8-1 0 0 0,-9-2 0 0 0,-22 1 0 0 0,-25-1 0 0 0,-22 0 0 0 0,-24 1 0 0 0,-28-1 0 0 0,-26 1 0 0 0,-25 0 0 0 0,-37 0 0 0 0,-50 0 0 0 0,-54 0 0 0 0,-55 0 0 0 0,-46 0 0 0 0,-40 0 0 0 0,-38 0 0 0 0,-22 0 0 0 0,-20 0 0 0 0,-13 0 0 0 0,-9 0 0 0 0,-4 0 0 0 0,-2 0 0 0 0,7 0 0 0 0,9 0 0 0 0,11 0 0 0 0,15 7 0 0 0,15 10 0 0 0,27 1 0 0 0,27 5 0 0 0,32-2 0 0 0,26-3 0 0 0,35 1 0 0 0,39 4 0 0 0,43-1 0 0 0,50-4 0 0 0,53-6 0 0 0,52-4 0 0 0,36-4 0 0 0,29-3 0 0 0,20-1 0 0 0,12-1 0 0 0,8 0 0 0 0,8 0 0 0 0,10 0 0 0 0,1 1 0 0 0,-4-1 0 0 0,-6 1 0 0 0,3 0 0 0 0,-10 0 0 0 0,-20 0 0 0 0,-14 0 0 0 0,-18 0 0 0 0,-28 0 0 0 0,-31 0 0 0 0,-25 0 0 0 0,-40 0 0 0 0,-48 0 0 0 0,-64 0 0 0 0,-75 0 0 0 0,-90-7 0 0 0,-81-9 0 0 0,-84-2 0 0 0,-58 2 0 0 0,-34 4 0 0 0,4 3 0 0 0,23 4 0 0 0,21 3 0 0 0,23 1 0 0 0,36 2 0 0 0,27-1 0 0 0,26 1 0 0 0,29 0 0 0 0,24-1 0 0 0,32 1 0 0 0,38-1 0 0 0,34 0 0 0 0,48 0 0 0 0,60 0 0 0 0,56 0 0 0 0,58 0 0 0 0,58 7 0 0 0,46 2 0 0 0,34 0 0 0 0,27-2 0 0 0,22-2 0 0 0,-2-1 0 0 0,-3-3 0 0 0,1 0 0 0 0,-1-1 0 0 0,1 0 0 0 0,-1-1 0 0 0,3 1 0 0 0,4 0 0 0 0,-9-1 0 0 0,-7 1 0 0 0,-5 0 0 0 0,-11 0 0 0 0,-18 0 0 0 0,-18 0 0 0 0,-24 0 0 0 0,-36 0 0 0 0,-35 0 0 0 0,-57 0 0 0 0,-66 0 0 0 0,-73 0 0 0 0,-63 0 0 0 0,-63-14 0 0 0,-59-5 0 0 0,-31-5 0 0 0,-22 0 0 0 0,-18-2 0 0 0,-14 3 0 0 0,-3 6 0 0 0,11 5 0 0 0,22 5 0 0 0,25 4 0 0 0,21 2 0 0 0,31 2 0 0 0,29 0 0 0 0,38 0 0 0 0,43 0 0 0 0,38-1 0 0 0,37 8 0 0 0,35 2 0 0 0,37-1 0 0 0,46-2 0 0 0,34-2 0 0 0,37 5 0 0 0,26 1 0 0 0,22-1 0 0 0,16-3 0 0 0,-2-3 0 0 0,-13-1 0 0 0,-7-1 0 0 0,-11-2 0 0 0,-18 0 0 0 0,-19-1 0 0 0,-15 1 0 0 0,-19-1 0 0 0,-23 1 0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_FIRST_SLIDE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/>
              <a:t>10</a:t>
            </a:r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/>
              <a:t>2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2109652" y="2882068"/>
            <a:ext cx="14068696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115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/>
              <a:t>Smart Slides</a:t>
            </a:r>
            <a:endParaRPr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2109652" y="4823012"/>
            <a:ext cx="14044090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/>
              <a:t>Make Slides in a flash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6068374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OP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2239625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778781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SMALL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8287999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513712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0655578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G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-30955" y="6375"/>
            <a:ext cx="1227058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4428564"/>
            <a:ext cx="4624475" cy="517263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12744450" y="2263775"/>
            <a:ext cx="4624475" cy="216478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6A16B800-55C2-CFB0-4AA2-3CBB648B98D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1660480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87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-30955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/>
              <a:t>2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/>
              <a:t>1</a:t>
            </a:r>
            <a:endParaRPr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/>
              <a:t>0</a:t>
            </a:r>
            <a:endParaRPr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/>
              <a:t>3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FB52679D-00ED-7CE2-017B-041885E86B3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/>
              <a:t>IMAGE_ATTRIBUTION</a:t>
            </a:r>
          </a:p>
        </p:txBody>
      </p:sp>
      <p:sp>
        <p:nvSpPr>
          <p:cNvPr id="5" name="background_block">
            <a:extLst>
              <a:ext uri="{FF2B5EF4-FFF2-40B4-BE49-F238E27FC236}">
                <a16:creationId xmlns:a16="http://schemas.microsoft.com/office/drawing/2014/main" id="{7BEEA341-586D-B048-35BC-9616BE85A2D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713842" y="0"/>
            <a:ext cx="57257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2314670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/>
              <a:t>20</a:t>
            </a:r>
          </a:p>
        </p:txBody>
      </p:sp>
      <p:sp>
        <p:nvSpPr>
          <p:cNvPr id="22" name="background_block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9601200"/>
            <a:ext cx="18288000" cy="68579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/>
          </a:p>
        </p:txBody>
      </p:sp>
      <p:sp>
        <p:nvSpPr>
          <p:cNvPr id="25" name="content_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/>
              <a:t>21</a:t>
            </a:r>
            <a:endParaRPr/>
          </a:p>
        </p:txBody>
      </p:sp>
      <p:sp>
        <p:nvSpPr>
          <p:cNvPr id="26" name="image_3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661779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/>
              <a:t>18</a:t>
            </a:r>
          </a:p>
        </p:txBody>
      </p:sp>
      <p:sp>
        <p:nvSpPr>
          <p:cNvPr id="23" name="content_2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/>
              <a:t>19</a:t>
            </a:r>
            <a:endParaRPr/>
          </a:p>
        </p:txBody>
      </p:sp>
      <p:sp>
        <p:nvSpPr>
          <p:cNvPr id="24" name="image_2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424406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/>
              <a:t>1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/>
              <a:t>1</a:t>
            </a:r>
            <a:endParaRPr/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223668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/>
              <a:t>2</a:t>
            </a:r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/>
              <a:t>0</a:t>
            </a:r>
            <a:endParaRPr/>
          </a:p>
        </p:txBody>
      </p:sp>
      <p:sp>
        <p:nvSpPr>
          <p:cNvPr id="2" name="image_attribution">
            <a:extLst>
              <a:ext uri="{FF2B5EF4-FFF2-40B4-BE49-F238E27FC236}">
                <a16:creationId xmlns:a16="http://schemas.microsoft.com/office/drawing/2014/main" id="{7D4BB170-9F09-7110-3CD4-AF58BD7B65E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38372052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_V2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/>
              <a:t>22</a:t>
            </a:r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31000" y="2747907"/>
            <a:ext cx="4656225" cy="2047037"/>
          </a:xfrm>
        </p:spPr>
        <p:txBody>
          <a:bodyPr/>
          <a:lstStyle/>
          <a:p>
            <a:r>
              <a:rPr lang="en-AU"/>
              <a:t>2</a:t>
            </a:r>
          </a:p>
        </p:txBody>
      </p:sp>
      <p:sp>
        <p:nvSpPr>
          <p:cNvPr id="22" name="background_block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0"/>
            <a:ext cx="36195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/>
          </a:p>
        </p:txBody>
      </p:sp>
      <p:sp>
        <p:nvSpPr>
          <p:cNvPr id="25" name="content_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/>
              <a:t>19</a:t>
            </a:r>
            <a:endParaRPr/>
          </a:p>
        </p:txBody>
      </p:sp>
      <p:sp>
        <p:nvSpPr>
          <p:cNvPr id="26" name="image_3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357186" y="2747905"/>
            <a:ext cx="4644814" cy="2047037"/>
          </a:xfrm>
        </p:spPr>
        <p:txBody>
          <a:bodyPr/>
          <a:lstStyle/>
          <a:p>
            <a:r>
              <a:rPr lang="en-AU"/>
              <a:t>18</a:t>
            </a:r>
          </a:p>
        </p:txBody>
      </p:sp>
      <p:sp>
        <p:nvSpPr>
          <p:cNvPr id="23" name="content_2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/>
              <a:t>21</a:t>
            </a:r>
            <a:endParaRPr/>
          </a:p>
        </p:txBody>
      </p:sp>
      <p:sp>
        <p:nvSpPr>
          <p:cNvPr id="24" name="image_2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8390" y="2747906"/>
            <a:ext cx="4677648" cy="2047037"/>
          </a:xfrm>
        </p:spPr>
        <p:txBody>
          <a:bodyPr/>
          <a:lstStyle/>
          <a:p>
            <a:r>
              <a:rPr lang="en-AU"/>
              <a:t>1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/>
              <a:t>1</a:t>
            </a:r>
            <a:endParaRPr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/>
              <a:t>0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8319269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4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content_4">
            <a:extLst>
              <a:ext uri="{FF2B5EF4-FFF2-40B4-BE49-F238E27FC236}">
                <a16:creationId xmlns:a16="http://schemas.microsoft.com/office/drawing/2014/main" id="{97130B1B-4ED5-07BD-72B7-007C1D1E0682}"/>
              </a:ext>
            </a:extLst>
          </p:cNvPr>
          <p:cNvSpPr txBox="1">
            <a:spLocks noGrp="1"/>
          </p:cNvSpPr>
          <p:nvPr>
            <p:ph type="body" idx="25" hasCustomPrompt="1"/>
          </p:nvPr>
        </p:nvSpPr>
        <p:spPr>
          <a:xfrm>
            <a:off x="13473932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/>
              <a:t>25</a:t>
            </a:r>
            <a:endParaRPr/>
          </a:p>
        </p:txBody>
      </p:sp>
      <p:sp>
        <p:nvSpPr>
          <p:cNvPr id="22" name="image_4">
            <a:extLst>
              <a:ext uri="{FF2B5EF4-FFF2-40B4-BE49-F238E27FC236}">
                <a16:creationId xmlns:a16="http://schemas.microsoft.com/office/drawing/2014/main" id="{4D333938-660B-24CF-7672-26505437B26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3473932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/>
              <a:t>23</a:t>
            </a:r>
          </a:p>
        </p:txBody>
      </p:sp>
      <p:sp>
        <p:nvSpPr>
          <p:cNvPr id="12" name="content_3">
            <a:extLst>
              <a:ext uri="{FF2B5EF4-FFF2-40B4-BE49-F238E27FC236}">
                <a16:creationId xmlns:a16="http://schemas.microsoft.com/office/drawing/2014/main" id="{4EC85EFB-1D00-34F3-DEFC-3D132152607F}"/>
              </a:ext>
            </a:extLst>
          </p:cNvPr>
          <p:cNvSpPr txBox="1">
            <a:spLocks noGrp="1"/>
          </p:cNvSpPr>
          <p:nvPr>
            <p:ph type="body" idx="22" hasCustomPrompt="1"/>
          </p:nvPr>
        </p:nvSpPr>
        <p:spPr>
          <a:xfrm>
            <a:off x="9288980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/>
              <a:t>22</a:t>
            </a:r>
            <a:endParaRPr/>
          </a:p>
        </p:txBody>
      </p:sp>
      <p:sp>
        <p:nvSpPr>
          <p:cNvPr id="13" name="image_3">
            <a:extLst>
              <a:ext uri="{FF2B5EF4-FFF2-40B4-BE49-F238E27FC236}">
                <a16:creationId xmlns:a16="http://schemas.microsoft.com/office/drawing/2014/main" id="{EA08CF17-561F-6A45-B311-DF3E79243E6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288980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/>
              <a:t>20</a:t>
            </a:r>
          </a:p>
        </p:txBody>
      </p:sp>
      <p:sp>
        <p:nvSpPr>
          <p:cNvPr id="2" name="content_2">
            <a:extLst>
              <a:ext uri="{FF2B5EF4-FFF2-40B4-BE49-F238E27FC236}">
                <a16:creationId xmlns:a16="http://schemas.microsoft.com/office/drawing/2014/main" id="{B72C5E58-53F4-0EA6-D32E-ADEF51F174DB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5104028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/>
              <a:t>19</a:t>
            </a:r>
            <a:endParaRPr/>
          </a:p>
        </p:txBody>
      </p:sp>
      <p:sp>
        <p:nvSpPr>
          <p:cNvPr id="5" name="image_2">
            <a:extLst>
              <a:ext uri="{FF2B5EF4-FFF2-40B4-BE49-F238E27FC236}">
                <a16:creationId xmlns:a16="http://schemas.microsoft.com/office/drawing/2014/main" id="{548E7E5D-1895-B2EB-B13F-C15207C4095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04028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/>
              <a:t>12</a:t>
            </a:r>
          </a:p>
        </p:txBody>
      </p:sp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/>
              <a:t>26</a:t>
            </a:r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9076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6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/>
              <a:t>1</a:t>
            </a:r>
            <a:endParaRPr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/>
              <a:t>0</a:t>
            </a:r>
            <a:endParaRPr/>
          </a:p>
        </p:txBody>
      </p:sp>
      <p:sp>
        <p:nvSpPr>
          <p:cNvPr id="3" name="background_block">
            <a:extLst>
              <a:ext uri="{FF2B5EF4-FFF2-40B4-BE49-F238E27FC236}">
                <a16:creationId xmlns:a16="http://schemas.microsoft.com/office/drawing/2014/main" id="{D430C6F0-E30A-7BAF-6C33-C5B5211D4BE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887448"/>
            <a:ext cx="18286412" cy="399551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8073469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CHART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3325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429000"/>
            <a:ext cx="4624475" cy="6172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/>
              <a:t>1</a:t>
            </a:r>
            <a:endParaRPr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6994357" y="1028700"/>
            <a:ext cx="10374479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/>
              <a:t>0</a:t>
            </a:r>
            <a:endParaRPr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/>
              <a:t>2</a:t>
            </a:r>
          </a:p>
        </p:txBody>
      </p:sp>
      <p:sp>
        <p:nvSpPr>
          <p:cNvPr id="4" name="chart_attribution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969124" y="9601200"/>
            <a:ext cx="10404476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/>
              <a:t>IMAGE_ATTRIBUTION</a:t>
            </a:r>
          </a:p>
        </p:txBody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A3D5285-BC74-616C-FC2D-82173282C0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9943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5F36563A-2106-69C5-E8E9-27FA96DE802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994357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7" name="background_block">
            <a:extLst>
              <a:ext uri="{FF2B5EF4-FFF2-40B4-BE49-F238E27FC236}">
                <a16:creationId xmlns:a16="http://schemas.microsoft.com/office/drawing/2014/main" id="{688175B4-C1B3-DC4A-FC57-AA718C3244C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726546" y="0"/>
            <a:ext cx="559866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0217989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CHART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_block">
            <a:extLst>
              <a:ext uri="{FF2B5EF4-FFF2-40B4-BE49-F238E27FC236}">
                <a16:creationId xmlns:a16="http://schemas.microsoft.com/office/drawing/2014/main" id="{FDEABBCE-427C-A928-7A5F-A6E46759AD5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/>
              <a:t>10</a:t>
            </a:r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3429000"/>
            <a:ext cx="4624475" cy="5918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3398EF0-41AD-1DA3-9D4A-789F64FD72B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199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C3DA4F55-4539-14D6-34D1-2DAB4E8397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075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8" name="chart_attribution">
            <a:extLst>
              <a:ext uri="{FF2B5EF4-FFF2-40B4-BE49-F238E27FC236}">
                <a16:creationId xmlns:a16="http://schemas.microsoft.com/office/drawing/2014/main" id="{BD69A525-8BD0-FB5F-9FB7-C8A123291AFE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39426508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CHAR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3398EF0-41AD-1DA3-9D4A-789F64FD72B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19956" y="2263775"/>
            <a:ext cx="14624843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C3DA4F55-4539-14D6-34D1-2DAB4E8397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074" y="3429000"/>
            <a:ext cx="14625725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7" name="background_block">
            <a:extLst>
              <a:ext uri="{FF2B5EF4-FFF2-40B4-BE49-F238E27FC236}">
                <a16:creationId xmlns:a16="http://schemas.microsoft.com/office/drawing/2014/main" id="{C99C115F-07D7-7960-E7F5-D108DC3DF8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/>
              <a:t>10</a:t>
            </a:r>
          </a:p>
        </p:txBody>
      </p:sp>
      <p:sp>
        <p:nvSpPr>
          <p:cNvPr id="8" name="chart_attribution">
            <a:extLst>
              <a:ext uri="{FF2B5EF4-FFF2-40B4-BE49-F238E27FC236}">
                <a16:creationId xmlns:a16="http://schemas.microsoft.com/office/drawing/2014/main" id="{5FFC2887-C1F1-3ECB-D55D-8EC43892E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/>
              <a:t>CHART_ATTRIBUTION</a:t>
            </a:r>
          </a:p>
        </p:txBody>
      </p:sp>
    </p:spTree>
    <p:extLst>
      <p:ext uri="{BB962C8B-B14F-4D97-AF65-F5344CB8AC3E}">
        <p14:creationId xmlns:p14="http://schemas.microsoft.com/office/powerpoint/2010/main" val="4767718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st_Slide_FULL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/>
              <a:t>10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0" y="1027450"/>
            <a:ext cx="13969941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/>
              <a:t>Smart Slides</a:t>
            </a:r>
            <a:endParaRPr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3429000"/>
            <a:ext cx="11310225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/>
              <a:t>Make Slides in a flash</a:t>
            </a:r>
            <a:endParaRPr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6391019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BASIC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4" y="2277035"/>
            <a:ext cx="13968341" cy="73241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Raleway" pitchFamily="2" charset="77"/>
                <a:ea typeface="Raleway" pitchFamily="2" charset="77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/>
              <a:t>1</a:t>
            </a:r>
            <a:endParaRPr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3968341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Raleway" pitchFamily="2" charset="77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/>
              <a:t>0</a:t>
            </a:r>
            <a:endParaRPr/>
          </a:p>
        </p:txBody>
      </p:sp>
      <p:sp>
        <p:nvSpPr>
          <p:cNvPr id="3" name="background_block">
            <a:extLst>
              <a:ext uri="{FF2B5EF4-FFF2-40B4-BE49-F238E27FC236}">
                <a16:creationId xmlns:a16="http://schemas.microsoft.com/office/drawing/2014/main" id="{75F89250-7C5B-B1F5-8200-8B8C635D3F3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7756372" y="0"/>
            <a:ext cx="531628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0213584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EXT_HALF_COLOR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87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/>
              <a:t>1</a:t>
            </a:r>
            <a:endParaRPr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/>
              <a:t>0</a:t>
            </a:r>
            <a:endParaRPr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/>
              <a:t>3</a:t>
            </a:r>
          </a:p>
        </p:txBody>
      </p:sp>
      <p:sp>
        <p:nvSpPr>
          <p:cNvPr id="6" name="background_block">
            <a:extLst>
              <a:ext uri="{FF2B5EF4-FFF2-40B4-BE49-F238E27FC236}">
                <a16:creationId xmlns:a16="http://schemas.microsoft.com/office/drawing/2014/main" id="{E0646940-DA1E-5EA3-E796-448F4439F9B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911304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9372015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IMAGE_QUOTE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mage">
            <a:extLst>
              <a:ext uri="{FF2B5EF4-FFF2-40B4-BE49-F238E27FC236}">
                <a16:creationId xmlns:a16="http://schemas.microsoft.com/office/drawing/2014/main" id="{94B6F339-EBB5-67F5-7B23-40FE42957964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-1" y="6375"/>
            <a:ext cx="18288001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/>
              <a:t>10</a:t>
            </a:r>
          </a:p>
        </p:txBody>
      </p:sp>
      <p:sp>
        <p:nvSpPr>
          <p:cNvPr id="35" name="transparent_block"/>
          <p:cNvSpPr>
            <a:spLocks noGrp="1"/>
          </p:cNvSpPr>
          <p:nvPr>
            <p:ph type="pic" idx="2" hasCustomPrompt="1"/>
          </p:nvPr>
        </p:nvSpPr>
        <p:spPr>
          <a:xfrm>
            <a:off x="1" y="6375"/>
            <a:ext cx="18287999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/>
              <a:t>10</a:t>
            </a:r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/>
              <a:t>2</a:t>
            </a:r>
          </a:p>
        </p:txBody>
      </p:sp>
      <p:sp>
        <p:nvSpPr>
          <p:cNvPr id="6" name="image_attribution">
            <a:extLst>
              <a:ext uri="{FF2B5EF4-FFF2-40B4-BE49-F238E27FC236}">
                <a16:creationId xmlns:a16="http://schemas.microsoft.com/office/drawing/2014/main" id="{9EF8EFC7-DE23-07B9-50F1-01C75247A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-1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/>
              <a:t>IMAGE_ATTRIBUTION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2671483" y="5869292"/>
            <a:ext cx="13330518" cy="275907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76200" lvl="0" indent="0" algn="ctr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/>
              <a:t>1</a:t>
            </a:r>
            <a:endParaRPr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2671482" y="2263775"/>
            <a:ext cx="13330518" cy="287972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000"/>
              <a:buNone/>
              <a:defRPr sz="8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/>
              <a:t>0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7201730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AGENDA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862458" y="0"/>
            <a:ext cx="505532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/>
              <a:t>10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1" y="2011363"/>
            <a:ext cx="8214600" cy="141763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4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/>
              <a:t>0</a:t>
            </a:r>
            <a:endParaRPr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1" y="3747247"/>
            <a:ext cx="8214600" cy="5002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571500" lvl="0" indent="-571500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/>
              <a:t>1</a:t>
            </a:r>
            <a:endParaRPr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3097672A-5659-5B5F-6D5C-F22FA04F334D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7450"/>
            <a:ext cx="182895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/>
              <a:t>2</a:t>
            </a:r>
          </a:p>
        </p:txBody>
      </p:sp>
      <p:sp>
        <p:nvSpPr>
          <p:cNvPr id="2" name="image_attribution">
            <a:extLst>
              <a:ext uri="{FF2B5EF4-FFF2-40B4-BE49-F238E27FC236}">
                <a16:creationId xmlns:a16="http://schemas.microsoft.com/office/drawing/2014/main" id="{4FAB3CEC-34D5-F8C2-2849-CD522F40C82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862458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776094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MIDDLE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4831491" y="3207472"/>
            <a:ext cx="6499897" cy="19296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/>
              <a:t>0</a:t>
            </a:r>
            <a:endParaRPr/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4831492" y="5149875"/>
            <a:ext cx="6499896" cy="445772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/>
              <a:t>1</a:t>
            </a:r>
            <a:endParaRPr/>
          </a:p>
        </p:txBody>
      </p:sp>
      <p:sp>
        <p:nvSpPr>
          <p:cNvPr id="18" name="logo"/>
          <p:cNvSpPr>
            <a:spLocks noGrp="1"/>
          </p:cNvSpPr>
          <p:nvPr>
            <p:ph type="pic" idx="2"/>
          </p:nvPr>
        </p:nvSpPr>
        <p:spPr>
          <a:xfrm>
            <a:off x="4831491" y="102870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3" name="image">
            <a:extLst>
              <a:ext uri="{FF2B5EF4-FFF2-40B4-BE49-F238E27FC236}">
                <a16:creationId xmlns:a16="http://schemas.microsoft.com/office/drawing/2014/main" id="{06D4F85C-9A50-3DC0-80AA-7315DE0FAC40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12239625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/>
              <a:t>2</a:t>
            </a:r>
          </a:p>
        </p:txBody>
      </p:sp>
      <p:sp>
        <p:nvSpPr>
          <p:cNvPr id="4" name="background_block">
            <a:extLst>
              <a:ext uri="{FF2B5EF4-FFF2-40B4-BE49-F238E27FC236}">
                <a16:creationId xmlns:a16="http://schemas.microsoft.com/office/drawing/2014/main" id="{38176A5C-D173-4CE5-8B87-A1D02EA54F9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926" y="0"/>
            <a:ext cx="4094909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/>
              <a:t>10</a:t>
            </a:r>
          </a:p>
        </p:txBody>
      </p:sp>
      <p:sp>
        <p:nvSpPr>
          <p:cNvPr id="6" name="image_attribution">
            <a:extLst>
              <a:ext uri="{FF2B5EF4-FFF2-40B4-BE49-F238E27FC236}">
                <a16:creationId xmlns:a16="http://schemas.microsoft.com/office/drawing/2014/main" id="{27D196E1-1554-1258-960F-5C778357F79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2239625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958450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9144000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/>
              <a:t>10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729318"/>
            <a:ext cx="7529186" cy="587188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/>
              <a:t>1</a:t>
            </a:r>
            <a:endParaRPr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163" y="2263775"/>
            <a:ext cx="7529186" cy="146554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/>
              <a:t>0</a:t>
            </a:r>
            <a:endParaRPr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/>
              <a:t>2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6569A8CA-36B2-E265-E4E7-8A8DF21B36D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14400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27722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197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6119813" y="6375"/>
            <a:ext cx="12168187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/>
              <a:t>3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4410635"/>
            <a:ext cx="4624475" cy="519056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/>
              <a:t>1</a:t>
            </a:r>
            <a:endParaRPr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075" y="2263775"/>
            <a:ext cx="4624475" cy="214685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/>
              <a:t>0</a:t>
            </a:r>
            <a:endParaRPr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/>
              <a:t>2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119813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8993204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5D679FE-3B60-23E0-8EBD-D3204877DB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040606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95" imgH="394" progId="TCLayout.ActiveDocument.1">
                  <p:embed/>
                </p:oleObj>
              </mc:Choice>
              <mc:Fallback>
                <p:oleObj name="think-cell Slide" r:id="rId22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D679FE-3B60-23E0-8EBD-D3204877DB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4800"/>
              <a:buFont typeface="Calibri"/>
              <a:buNone/>
              <a:defRPr sz="4800"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19075" y="2464225"/>
            <a:ext cx="14625600" cy="707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err="1"/>
              <a:t>asd</a:t>
            </a:r>
            <a:endParaRPr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806DCB6-BDD3-0C02-D0C6-B4B53F933815}"/>
              </a:ext>
            </a:extLst>
          </p:cNvPr>
          <p:cNvSpPr txBox="1"/>
          <p:nvPr userDrawn="1"/>
        </p:nvSpPr>
        <p:spPr>
          <a:xfrm>
            <a:off x="931000" y="9601200"/>
            <a:ext cx="5188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Smart Slides GPT Plugin</a:t>
            </a: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70" r:id="rId1"/>
    <p:sldLayoutId id="2147483663" r:id="rId2"/>
    <p:sldLayoutId id="2147483671" r:id="rId3"/>
    <p:sldLayoutId id="2147483673" r:id="rId4"/>
    <p:sldLayoutId id="2147483666" r:id="rId5"/>
    <p:sldLayoutId id="2147483662" r:id="rId6"/>
    <p:sldLayoutId id="2147483664" r:id="rId7"/>
    <p:sldLayoutId id="2147483660" r:id="rId8"/>
    <p:sldLayoutId id="2147483657" r:id="rId9"/>
    <p:sldLayoutId id="2147483665" r:id="rId10"/>
    <p:sldLayoutId id="2147483674" r:id="rId11"/>
    <p:sldLayoutId id="2147483658" r:id="rId12"/>
    <p:sldLayoutId id="2147483661" r:id="rId13"/>
    <p:sldLayoutId id="2147483655" r:id="rId14"/>
    <p:sldLayoutId id="2147483659" r:id="rId15"/>
    <p:sldLayoutId id="2147483656" r:id="rId16"/>
    <p:sldLayoutId id="2147483668" r:id="rId17"/>
    <p:sldLayoutId id="2147483669" r:id="rId18"/>
    <p:sldLayoutId id="2147483672" r:id="rId19"/>
  </p:sldLayoutIdLst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5760">
          <p15:clr>
            <a:srgbClr val="E46962"/>
          </p15:clr>
        </p15:guide>
        <p15:guide id="2" pos="579">
          <p15:clr>
            <a:srgbClr val="E46962"/>
          </p15:clr>
        </p15:guide>
        <p15:guide id="3" pos="10944">
          <p15:clr>
            <a:srgbClr val="E46962"/>
          </p15:clr>
        </p15:guide>
        <p15:guide id="4" orient="horz" pos="648">
          <p15:clr>
            <a:srgbClr val="E46962"/>
          </p15:clr>
        </p15:guide>
        <p15:guide id="5" orient="horz" pos="6048">
          <p15:clr>
            <a:srgbClr val="E46962"/>
          </p15:clr>
        </p15:guide>
        <p15:guide id="6" orient="horz" pos="3240">
          <p15:clr>
            <a:srgbClr val="E46962"/>
          </p15:clr>
        </p15:guide>
        <p15:guide id="7" orient="horz" pos="1267">
          <p15:clr>
            <a:srgbClr val="E46962"/>
          </p15:clr>
        </p15:guide>
        <p15:guide id="8" pos="9792">
          <p15:clr>
            <a:srgbClr val="E46962"/>
          </p15:clr>
        </p15:guide>
        <p15:guide id="9" pos="10080">
          <p15:clr>
            <a:srgbClr val="E46962"/>
          </p15:clr>
        </p15:guide>
        <p15:guide id="10" pos="3855" userDrawn="1">
          <p15:clr>
            <a:srgbClr val="E46962"/>
          </p15:clr>
        </p15:guide>
        <p15:guide id="11" pos="7710" userDrawn="1">
          <p15:clr>
            <a:srgbClr val="E46962"/>
          </p15:clr>
        </p15:guide>
        <p15:guide id="12" orient="horz" pos="2160" userDrawn="1">
          <p15:clr>
            <a:srgbClr val="E46962"/>
          </p15:clr>
        </p15:guide>
        <p15:guide id="13" orient="horz" pos="4310" userDrawn="1">
          <p15:clr>
            <a:srgbClr val="E46962"/>
          </p15:clr>
        </p15:guide>
        <p15:guide id="14" orient="horz" pos="142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customXml" Target="../ink/ink14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3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ustomXml" Target="../ink/ink15.xml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1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image" Target="../media/image22.png"/><Relationship Id="rId7" Type="http://schemas.openxmlformats.org/officeDocument/2006/relationships/image" Target="../media/image16.png"/><Relationship Id="rId2" Type="http://schemas.openxmlformats.org/officeDocument/2006/relationships/customXml" Target="../ink/ink1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jpeg"/><Relationship Id="rId5" Type="http://schemas.openxmlformats.org/officeDocument/2006/relationships/image" Target="../media/image23.png"/><Relationship Id="rId4" Type="http://schemas.openxmlformats.org/officeDocument/2006/relationships/customXml" Target="../ink/ink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customXml" Target="../ink/ink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customXml" Target="../ink/ink2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ustomXml" Target="../ink/ink3.xm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image" Target="../media/image6.png"/><Relationship Id="rId7" Type="http://schemas.openxmlformats.org/officeDocument/2006/relationships/image" Target="../media/image8.png"/><Relationship Id="rId2" Type="http://schemas.openxmlformats.org/officeDocument/2006/relationships/customXml" Target="../ink/ink4.xml"/><Relationship Id="rId1" Type="http://schemas.openxmlformats.org/officeDocument/2006/relationships/slideLayout" Target="../slideLayouts/slideLayout8.xml"/><Relationship Id="rId6" Type="http://schemas.openxmlformats.org/officeDocument/2006/relationships/customXml" Target="../ink/ink6.xml"/><Relationship Id="rId5" Type="http://schemas.openxmlformats.org/officeDocument/2006/relationships/image" Target="../media/image7.png"/><Relationship Id="rId4" Type="http://schemas.openxmlformats.org/officeDocument/2006/relationships/customXml" Target="../ink/ink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7" Type="http://schemas.openxmlformats.org/officeDocument/2006/relationships/image" Target="../media/image13.png"/><Relationship Id="rId2" Type="http://schemas.openxmlformats.org/officeDocument/2006/relationships/customXml" Target="../ink/ink7.xml"/><Relationship Id="rId1" Type="http://schemas.openxmlformats.org/officeDocument/2006/relationships/slideLayout" Target="../slideLayouts/slideLayout13.xml"/><Relationship Id="rId6" Type="http://schemas.openxmlformats.org/officeDocument/2006/relationships/customXml" Target="../ink/ink9.xml"/><Relationship Id="rId5" Type="http://schemas.openxmlformats.org/officeDocument/2006/relationships/image" Target="../media/image9.png"/><Relationship Id="rId4" Type="http://schemas.openxmlformats.org/officeDocument/2006/relationships/customXml" Target="../ink/ink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customXml" Target="../ink/ink10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0.jpeg"/><Relationship Id="rId5" Type="http://schemas.openxmlformats.org/officeDocument/2006/relationships/image" Target="../media/image80.png"/><Relationship Id="rId4" Type="http://schemas.openxmlformats.org/officeDocument/2006/relationships/customXml" Target="../ink/ink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ustomXml" Target="../ink/ink12.xml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ustomXml" Target="../ink/ink13.xml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 descr="Abstract background of dark mesh">
            <a:extLst>
              <a:ext uri="{FF2B5EF4-FFF2-40B4-BE49-F238E27FC236}">
                <a16:creationId xmlns:a16="http://schemas.microsoft.com/office/drawing/2014/main" id="{2C81340D-65A7-21A8-9C03-09CDB73ECF7E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solidFill>
            <a:srgbClr val="004085"/>
          </a:solidFill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45" y="1875140"/>
            <a:ext cx="18286910" cy="1863129"/>
          </a:xfrm>
        </p:spPr>
        <p:txBody>
          <a:bodyPr/>
          <a:lstStyle/>
          <a:p>
            <a:pPr>
              <a:defRPr sz="4600">
                <a:solidFill>
                  <a:srgbClr val="FFFFFF"/>
                </a:solidFill>
                <a:latin typeface="Roboto"/>
              </a:defRPr>
            </a:pPr>
            <a:r>
              <a:rPr sz="6600" b="1" u="sng">
                <a:solidFill>
                  <a:schemeClr val="bg2"/>
                </a:solidFill>
                <a:latin typeface="Candara"/>
                <a:cs typeface="Calibri"/>
              </a:rPr>
              <a:t>Introduction to</a:t>
            </a:r>
            <a:br>
              <a:rPr lang="en-US" sz="6600" b="1" u="sng">
                <a:solidFill>
                  <a:schemeClr val="bg2"/>
                </a:solidFill>
                <a:latin typeface="Candara"/>
                <a:cs typeface="Calibri"/>
              </a:rPr>
            </a:br>
            <a:r>
              <a:rPr lang="en-US" sz="6600" b="1" u="sng">
                <a:solidFill>
                  <a:schemeClr val="bg2"/>
                </a:solidFill>
                <a:latin typeface="Candara"/>
                <a:cs typeface="Calibri"/>
              </a:rPr>
              <a:t> </a:t>
            </a:r>
            <a:r>
              <a:rPr sz="6600" b="1" u="sng">
                <a:solidFill>
                  <a:schemeClr val="bg2"/>
                </a:solidFill>
                <a:latin typeface="Candara"/>
                <a:cs typeface="Calibri"/>
              </a:rPr>
              <a:t>Types of Computers</a:t>
            </a:r>
            <a:endParaRPr lang="en-US" sz="6600" b="1" u="sng">
              <a:solidFill>
                <a:schemeClr val="bg2"/>
              </a:solidFill>
              <a:latin typeface="Candara"/>
              <a:cs typeface="Calibri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2109652" y="4823012"/>
            <a:ext cx="14044090" cy="2367003"/>
          </a:xfr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defRPr sz="3600">
                <a:latin typeface="Roboto"/>
              </a:defRPr>
            </a:pPr>
            <a:r>
              <a:rPr sz="6600" b="1">
                <a:solidFill>
                  <a:schemeClr val="accent6">
                    <a:lumMod val="76000"/>
                  </a:schemeClr>
                </a:solidFill>
                <a:latin typeface="JasmineUPC"/>
                <a:ea typeface="Calibri"/>
                <a:cs typeface="JasmineUPC"/>
              </a:rPr>
              <a:t>Overview of computers</a:t>
            </a:r>
            <a:endParaRPr lang="en-US" sz="6600" b="1">
              <a:solidFill>
                <a:schemeClr val="accent6">
                  <a:lumMod val="76000"/>
                </a:schemeClr>
              </a:solidFill>
              <a:latin typeface="JasmineUPC"/>
              <a:ea typeface="Calibri"/>
              <a:cs typeface="JasmineUPC"/>
            </a:endParaRPr>
          </a:p>
          <a:p>
            <a:pPr>
              <a:defRPr sz="3600">
                <a:latin typeface="Roboto"/>
              </a:defRPr>
            </a:pPr>
            <a:r>
              <a:rPr sz="6600" b="1">
                <a:solidFill>
                  <a:schemeClr val="accent6">
                    <a:lumMod val="76000"/>
                  </a:schemeClr>
                </a:solidFill>
                <a:latin typeface="JasmineUPC"/>
                <a:ea typeface="Calibri"/>
                <a:cs typeface="JasmineUPC"/>
              </a:rPr>
              <a:t>Classification of computers based on size, performance, and functionalit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79E3006-B2D0-47FF-413D-3C9F7CF33883}"/>
              </a:ext>
            </a:extLst>
          </p:cNvPr>
          <p:cNvSpPr txBox="1"/>
          <p:nvPr/>
        </p:nvSpPr>
        <p:spPr>
          <a:xfrm>
            <a:off x="184315" y="7936675"/>
            <a:ext cx="3077687" cy="20621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3200">
                <a:solidFill>
                  <a:schemeClr val="bg1"/>
                </a:solidFill>
                <a:ea typeface="Calibri"/>
                <a:cs typeface="Calibri"/>
              </a:rPr>
              <a:t>Presentation By:</a:t>
            </a:r>
          </a:p>
          <a:p>
            <a:pPr algn="ctr"/>
            <a:r>
              <a:rPr lang="en-US" sz="3200">
                <a:solidFill>
                  <a:schemeClr val="bg1"/>
                </a:solidFill>
                <a:ea typeface="Calibri"/>
                <a:cs typeface="Calibri"/>
              </a:rPr>
              <a:t>Abdul Basit</a:t>
            </a:r>
          </a:p>
          <a:p>
            <a:pPr algn="ctr"/>
            <a:r>
              <a:rPr lang="en-US" sz="3200">
                <a:solidFill>
                  <a:schemeClr val="bg1"/>
                </a:solidFill>
                <a:ea typeface="Calibri"/>
                <a:cs typeface="Calibri"/>
              </a:rPr>
              <a:t>&amp;</a:t>
            </a:r>
          </a:p>
          <a:p>
            <a:pPr algn="ctr"/>
            <a:r>
              <a:rPr lang="en-US" sz="3200">
                <a:solidFill>
                  <a:schemeClr val="bg1"/>
                </a:solidFill>
                <a:ea typeface="Calibri"/>
                <a:cs typeface="Calibri"/>
              </a:rPr>
              <a:t>Abdul Rehman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Roboto"/>
              </a:defRPr>
            </a:pPr>
            <a:r>
              <a:t>Provide services to other systems over a network</a:t>
            </a:r>
          </a:p>
          <a:p>
            <a:pPr>
              <a:defRPr sz="3600">
                <a:latin typeface="Roboto"/>
              </a:defRPr>
            </a:pPr>
            <a:r>
              <a:t>Used in web hosting, cloud computing, and data storage</a:t>
            </a:r>
          </a:p>
          <a:p>
            <a:pPr>
              <a:defRPr sz="3600">
                <a:latin typeface="Roboto"/>
              </a:defRPr>
            </a:pPr>
            <a:r>
              <a:t>Examples: Web servers, database server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4085"/>
                </a:solidFill>
                <a:latin typeface="Roboto"/>
              </a:defRPr>
            </a:pPr>
            <a:r>
              <a:t>Servers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7" name="Ink 6">
                <a:extLst>
                  <a:ext uri="{FF2B5EF4-FFF2-40B4-BE49-F238E27FC236}">
                    <a16:creationId xmlns:a16="http://schemas.microsoft.com/office/drawing/2014/main" id="{C92D1B9D-04EE-2DA7-B019-401B2C965821}"/>
                  </a:ext>
                </a:extLst>
              </p14:cNvPr>
              <p14:cNvContentPartPr/>
              <p14:nvPr/>
            </p14:nvContentPartPr>
            <p14:xfrm>
              <a:off x="855657" y="9616075"/>
              <a:ext cx="2621397" cy="345903"/>
            </p14:xfrm>
          </p:contentPart>
        </mc:Choice>
        <mc:Fallback xmlns="">
          <p:pic>
            <p:nvPicPr>
              <p:cNvPr id="7" name="Ink 6">
                <a:extLst>
                  <a:ext uri="{FF2B5EF4-FFF2-40B4-BE49-F238E27FC236}">
                    <a16:creationId xmlns:a16="http://schemas.microsoft.com/office/drawing/2014/main" id="{C92D1B9D-04EE-2DA7-B019-401B2C965821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92660" y="9553151"/>
                <a:ext cx="2747031" cy="471392"/>
              </a:xfrm>
              <a:prstGeom prst="rect">
                <a:avLst/>
              </a:prstGeom>
            </p:spPr>
          </p:pic>
        </mc:Fallback>
      </mc:AlternateContent>
      <p:pic>
        <p:nvPicPr>
          <p:cNvPr id="12" name="Picture Placeholder 11" descr="Ethernet cables connected to a networking patch">
            <a:extLst>
              <a:ext uri="{FF2B5EF4-FFF2-40B4-BE49-F238E27FC236}">
                <a16:creationId xmlns:a16="http://schemas.microsoft.com/office/drawing/2014/main" id="{0D23E6E8-B71A-C9E4-3B2B-829A0B942C0C}"/>
              </a:ext>
            </a:extLst>
          </p:cNvPr>
          <p:cNvPicPr>
            <a:picLocks noGrp="1" noChangeAspect="1"/>
          </p:cNvPicPr>
          <p:nvPr>
            <p:ph type="pic" idx="2"/>
          </p:nvPr>
        </p:nvPicPr>
        <p:blipFill>
          <a:blip r:embed="rId4"/>
          <a:srcRect l="5556" r="5556"/>
          <a:stretch/>
        </p:blipFill>
        <p:spPr/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064093" y="3625743"/>
            <a:ext cx="4624475" cy="5186243"/>
          </a:xfrm>
        </p:spPr>
        <p:txBody>
          <a:bodyPr>
            <a:normAutofit fontScale="92500" lnSpcReduction="10000"/>
          </a:bodyPr>
          <a:lstStyle/>
          <a:p>
            <a:pPr>
              <a:defRPr sz="3600">
                <a:latin typeface="Roboto"/>
              </a:defRPr>
            </a:pPr>
            <a:r>
              <a:t>Computers embedded in other devices to control specific functions</a:t>
            </a:r>
          </a:p>
          <a:p>
            <a:pPr>
              <a:defRPr sz="3600">
                <a:latin typeface="Roboto"/>
              </a:defRPr>
            </a:pPr>
            <a:r>
              <a:t>Found in devices like cars, home appliances, medical equipment</a:t>
            </a:r>
          </a:p>
          <a:p>
            <a:pPr>
              <a:defRPr sz="3600">
                <a:latin typeface="Roboto"/>
              </a:defRPr>
            </a:pPr>
            <a:r>
              <a:t>Example: Microcontrollers in IoT devic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2064093" y="1705882"/>
            <a:ext cx="4624475" cy="2164788"/>
          </a:xfrm>
        </p:spPr>
        <p:txBody>
          <a:bodyPr/>
          <a:lstStyle/>
          <a:p>
            <a:pPr>
              <a:defRPr sz="4600">
                <a:solidFill>
                  <a:srgbClr val="004085"/>
                </a:solidFill>
                <a:latin typeface="Roboto"/>
              </a:defRPr>
            </a:pPr>
            <a:r>
              <a:t>Embedded Systems</a:t>
            </a:r>
          </a:p>
        </p:txBody>
      </p:sp>
      <p:pic>
        <p:nvPicPr>
          <p:cNvPr id="11" name="Picture 10" descr="A group of electronic devices&#10;&#10;Description automatically generated">
            <a:extLst>
              <a:ext uri="{FF2B5EF4-FFF2-40B4-BE49-F238E27FC236}">
                <a16:creationId xmlns:a16="http://schemas.microsoft.com/office/drawing/2014/main" id="{2F3DCBB9-933F-B5DE-C8D1-2BC564F27A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8714" y="2096861"/>
            <a:ext cx="9987642" cy="6079670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4" name="Ink 13">
                <a:extLst>
                  <a:ext uri="{FF2B5EF4-FFF2-40B4-BE49-F238E27FC236}">
                    <a16:creationId xmlns:a16="http://schemas.microsoft.com/office/drawing/2014/main" id="{8A50056E-69B7-E2BE-62B2-545C4786CCFB}"/>
                  </a:ext>
                </a:extLst>
              </p14:cNvPr>
              <p14:cNvContentPartPr/>
              <p14:nvPr/>
            </p14:nvContentPartPr>
            <p14:xfrm>
              <a:off x="10226" y="9585805"/>
              <a:ext cx="3835927" cy="481160"/>
            </p14:xfrm>
          </p:contentPart>
        </mc:Choice>
        <mc:Fallback xmlns="">
          <p:pic>
            <p:nvPicPr>
              <p:cNvPr id="14" name="Ink 13">
                <a:extLst>
                  <a:ext uri="{FF2B5EF4-FFF2-40B4-BE49-F238E27FC236}">
                    <a16:creationId xmlns:a16="http://schemas.microsoft.com/office/drawing/2014/main" id="{8A50056E-69B7-E2BE-62B2-545C4786CCFB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52770" y="9522873"/>
                <a:ext cx="3961559" cy="606664"/>
              </a:xfrm>
              <a:prstGeom prst="rect">
                <a:avLst/>
              </a:prstGeom>
            </p:spPr>
          </p:pic>
        </mc:Fallback>
      </mc:AlternateContent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77704" y="2159722"/>
            <a:ext cx="4941261" cy="1701053"/>
          </a:xfrm>
        </p:spPr>
        <p:txBody>
          <a:bodyPr>
            <a:normAutofit/>
          </a:bodyPr>
          <a:lstStyle/>
          <a:p>
            <a:pPr>
              <a:defRPr sz="4600">
                <a:solidFill>
                  <a:srgbClr val="004085"/>
                </a:solidFill>
                <a:latin typeface="Roboto"/>
              </a:defRPr>
            </a:pPr>
            <a:r>
              <a:rPr sz="6600"/>
              <a:t>Conclusion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8" name="Ink 7">
                <a:extLst>
                  <a:ext uri="{FF2B5EF4-FFF2-40B4-BE49-F238E27FC236}">
                    <a16:creationId xmlns:a16="http://schemas.microsoft.com/office/drawing/2014/main" id="{993D8623-ADB0-91D7-0563-C2F07375194F}"/>
                  </a:ext>
                </a:extLst>
              </p14:cNvPr>
              <p14:cNvContentPartPr/>
              <p14:nvPr/>
            </p14:nvContentPartPr>
            <p14:xfrm>
              <a:off x="893270" y="9722275"/>
              <a:ext cx="2476592" cy="253460"/>
            </p14:xfrm>
          </p:contentPart>
        </mc:Choice>
        <mc:Fallback xmlns="">
          <p:pic>
            <p:nvPicPr>
              <p:cNvPr id="8" name="Ink 7">
                <a:extLst>
                  <a:ext uri="{FF2B5EF4-FFF2-40B4-BE49-F238E27FC236}">
                    <a16:creationId xmlns:a16="http://schemas.microsoft.com/office/drawing/2014/main" id="{993D8623-ADB0-91D7-0563-C2F07375194F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830275" y="9659359"/>
                <a:ext cx="2602221" cy="378932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9" name="Ink 8">
                <a:extLst>
                  <a:ext uri="{FF2B5EF4-FFF2-40B4-BE49-F238E27FC236}">
                    <a16:creationId xmlns:a16="http://schemas.microsoft.com/office/drawing/2014/main" id="{163C222C-273C-6881-A806-BF6972C9D578}"/>
                  </a:ext>
                </a:extLst>
              </p14:cNvPr>
              <p14:cNvContentPartPr/>
              <p14:nvPr/>
            </p14:nvContentPartPr>
            <p14:xfrm>
              <a:off x="778819" y="9811986"/>
              <a:ext cx="1551596" cy="30335"/>
            </p14:xfrm>
          </p:contentPart>
        </mc:Choice>
        <mc:Fallback xmlns="">
          <p:pic>
            <p:nvPicPr>
              <p:cNvPr id="9" name="Ink 8">
                <a:extLst>
                  <a:ext uri="{FF2B5EF4-FFF2-40B4-BE49-F238E27FC236}">
                    <a16:creationId xmlns:a16="http://schemas.microsoft.com/office/drawing/2014/main" id="{163C222C-273C-6881-A806-BF6972C9D578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715834" y="9749532"/>
                <a:ext cx="1677207" cy="154887"/>
              </a:xfrm>
              <a:prstGeom prst="rect">
                <a:avLst/>
              </a:prstGeom>
            </p:spPr>
          </p:pic>
        </mc:Fallback>
      </mc:AlternateContent>
      <p:pic>
        <p:nvPicPr>
          <p:cNvPr id="19" name="Picture Placeholder 18" descr="Doctors monitoring patient condition on monitors">
            <a:extLst>
              <a:ext uri="{FF2B5EF4-FFF2-40B4-BE49-F238E27FC236}">
                <a16:creationId xmlns:a16="http://schemas.microsoft.com/office/drawing/2014/main" id="{6FE09596-7E4F-A55D-2329-A0E0230F607C}"/>
              </a:ext>
            </a:extLst>
          </p:cNvPr>
          <p:cNvPicPr>
            <a:picLocks noGrp="1" noChangeAspect="1"/>
          </p:cNvPicPr>
          <p:nvPr>
            <p:ph type="pic" idx="10"/>
          </p:nvPr>
        </p:nvPicPr>
        <p:blipFill>
          <a:blip r:embed="rId6"/>
          <a:srcRect l="30406" r="30406"/>
          <a:stretch/>
        </p:blipFill>
        <p:spPr>
          <a:xfrm>
            <a:off x="10695833" y="6375"/>
            <a:ext cx="7592166" cy="10287000"/>
          </a:xfr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87CB2A5-F13D-D354-15BB-4EBD5E1F3642}"/>
              </a:ext>
            </a:extLst>
          </p:cNvPr>
          <p:cNvSpPr txBox="1"/>
          <p:nvPr/>
        </p:nvSpPr>
        <p:spPr>
          <a:xfrm>
            <a:off x="1911926" y="4862945"/>
            <a:ext cx="5320145" cy="110799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6600" dirty="0">
                <a:solidFill>
                  <a:srgbClr val="FF0000"/>
                </a:solidFill>
                <a:latin typeface="Constantia"/>
              </a:rPr>
              <a:t>Any</a:t>
            </a:r>
            <a:r>
              <a:rPr lang="en-US" sz="6600" dirty="0">
                <a:solidFill>
                  <a:srgbClr val="FF0000"/>
                </a:solidFill>
                <a:latin typeface="Roboto"/>
              </a:rPr>
              <a:t> </a:t>
            </a:r>
            <a:r>
              <a:rPr lang="en-US" sz="6600" dirty="0">
                <a:solidFill>
                  <a:srgbClr val="FF0000"/>
                </a:solidFill>
                <a:latin typeface="Constantia"/>
              </a:rPr>
              <a:t>Queries</a:t>
            </a:r>
            <a:endParaRPr lang="en-US" dirty="0">
              <a:solidFill>
                <a:srgbClr val="FF0000"/>
              </a:solidFill>
              <a:latin typeface="Constantia"/>
            </a:endParaRPr>
          </a:p>
        </p:txBody>
      </p:sp>
      <p:pic>
        <p:nvPicPr>
          <p:cNvPr id="5" name="Graphic 4" descr="Question mark with solid fill">
            <a:extLst>
              <a:ext uri="{FF2B5EF4-FFF2-40B4-BE49-F238E27FC236}">
                <a16:creationId xmlns:a16="http://schemas.microsoft.com/office/drawing/2014/main" id="{F0997F00-5308-1412-1C26-A420855E286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878783" y="4603174"/>
            <a:ext cx="1267690" cy="1350817"/>
          </a:xfrm>
          <a:prstGeom prst="rect">
            <a:avLst/>
          </a:prstGeom>
        </p:spPr>
      </p:pic>
      <p:pic>
        <p:nvPicPr>
          <p:cNvPr id="6" name="Graphic 5" descr="Question mark with solid fill">
            <a:extLst>
              <a:ext uri="{FF2B5EF4-FFF2-40B4-BE49-F238E27FC236}">
                <a16:creationId xmlns:a16="http://schemas.microsoft.com/office/drawing/2014/main" id="{34A22AE0-92B3-8A71-768D-9E1F6ED6BDB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560000">
            <a:off x="7294418" y="4603173"/>
            <a:ext cx="1267690" cy="1350817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28D862A-EF78-CF9E-AE17-729C34A516F9}"/>
              </a:ext>
            </a:extLst>
          </p:cNvPr>
          <p:cNvSpPr>
            <a:spLocks noGrp="1"/>
          </p:cNvSpPr>
          <p:nvPr/>
        </p:nvSpPr>
        <p:spPr>
          <a:xfrm>
            <a:off x="442824" y="4386141"/>
            <a:ext cx="8702377" cy="55416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533400" marR="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sz="3600" b="0" i="0" u="none" strike="noStrike" cap="none">
                <a:solidFill>
                  <a:srgbClr val="000000"/>
                </a:solidFill>
                <a:latin typeface="Raleway" pitchFamily="2" charset="77"/>
                <a:ea typeface="Raleway" pitchFamily="2" charset="77"/>
                <a:cs typeface="Calibri" panose="020F0502020204030204" pitchFamily="34" charset="0"/>
                <a:sym typeface="Roboto Light"/>
              </a:defRPr>
            </a:lvl1pPr>
            <a:lvl2pPr marL="914400" marR="0" lvl="1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○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■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marR="0" lvl="3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●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marR="0" lvl="4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○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marR="0" lvl="5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■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marR="0" lvl="6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●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marR="0" lvl="7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○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marR="0" lvl="8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■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pPr>
              <a:defRPr sz="3600">
                <a:latin typeface="Roboto"/>
              </a:defRPr>
            </a:pPr>
            <a:r>
              <a:rPr>
                <a:cs typeface="Calibri"/>
              </a:rPr>
              <a:t>A machine that processes data based on a set of instructions or programs.</a:t>
            </a:r>
            <a:endParaRPr lang="en-US">
              <a:cs typeface="Calibri"/>
            </a:endParaRPr>
          </a:p>
          <a:p>
            <a:pPr>
              <a:defRPr sz="3600">
                <a:latin typeface="Roboto"/>
              </a:defRPr>
            </a:pPr>
            <a:r>
              <a:rPr>
                <a:cs typeface="Calibri"/>
              </a:rPr>
              <a:t>Performs tasks like calculations,</a:t>
            </a:r>
            <a:r>
              <a:rPr lang="en-US">
                <a:cs typeface="Calibri"/>
              </a:rPr>
              <a:t> </a:t>
            </a:r>
            <a:r>
              <a:rPr>
                <a:cs typeface="Calibri"/>
              </a:rPr>
              <a:t>data storage, and communication.</a:t>
            </a:r>
            <a:endParaRPr lang="en-US">
              <a:cs typeface="Calibri"/>
            </a:endParaRPr>
          </a:p>
          <a:p>
            <a:pPr>
              <a:defRPr sz="3600">
                <a:latin typeface="Roboto"/>
              </a:defRPr>
            </a:pPr>
            <a:r>
              <a:rPr>
                <a:cs typeface="Calibri"/>
              </a:rPr>
              <a:t>Central to modern life in homes, businesses, and industries.</a:t>
            </a:r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D3A2E823-DF10-E795-6566-32F10426AD4A}"/>
              </a:ext>
            </a:extLst>
          </p:cNvPr>
          <p:cNvSpPr>
            <a:spLocks noGrp="1"/>
          </p:cNvSpPr>
          <p:nvPr/>
        </p:nvSpPr>
        <p:spPr>
          <a:xfrm>
            <a:off x="754107" y="2852057"/>
            <a:ext cx="12117770" cy="98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00"/>
              <a:buFont typeface="Calibri"/>
              <a:buNone/>
              <a:defRPr sz="4600" b="0" i="0" u="none" strike="noStrike" cap="none">
                <a:solidFill>
                  <a:srgbClr val="000000"/>
                </a:solidFill>
                <a:latin typeface="Raleway" pitchFamily="2" charset="77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 sz="4600">
                <a:solidFill>
                  <a:srgbClr val="004085"/>
                </a:solidFill>
                <a:latin typeface="Roboto"/>
              </a:defRPr>
            </a:pPr>
            <a:r>
              <a:t>What is a Computer?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11" name="Ink 10">
                <a:extLst>
                  <a:ext uri="{FF2B5EF4-FFF2-40B4-BE49-F238E27FC236}">
                    <a16:creationId xmlns:a16="http://schemas.microsoft.com/office/drawing/2014/main" id="{EDA36862-1CAF-7108-9B95-45D80A80E10F}"/>
                  </a:ext>
                </a:extLst>
              </p14:cNvPr>
              <p14:cNvContentPartPr/>
              <p14:nvPr/>
            </p14:nvContentPartPr>
            <p14:xfrm>
              <a:off x="750846" y="9707430"/>
              <a:ext cx="2760783" cy="222617"/>
            </p14:xfrm>
          </p:contentPart>
        </mc:Choice>
        <mc:Fallback xmlns="">
          <p:pic>
            <p:nvPicPr>
              <p:cNvPr id="11" name="Ink 10">
                <a:extLst>
                  <a:ext uri="{FF2B5EF4-FFF2-40B4-BE49-F238E27FC236}">
                    <a16:creationId xmlns:a16="http://schemas.microsoft.com/office/drawing/2014/main" id="{EDA36862-1CAF-7108-9B95-45D80A80E10F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687856" y="9644595"/>
                <a:ext cx="2886404" cy="347929"/>
              </a:xfrm>
              <a:prstGeom prst="rect">
                <a:avLst/>
              </a:prstGeom>
            </p:spPr>
          </p:pic>
        </mc:Fallback>
      </mc:AlternateContent>
      <p:pic>
        <p:nvPicPr>
          <p:cNvPr id="12" name="Picture 11" descr="Mother Board">
            <a:extLst>
              <a:ext uri="{FF2B5EF4-FFF2-40B4-BE49-F238E27FC236}">
                <a16:creationId xmlns:a16="http://schemas.microsoft.com/office/drawing/2014/main" id="{AD261E5D-5B1D-0D28-0D35-7AFB8B8554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20892" y="1117"/>
            <a:ext cx="9144001" cy="10284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6870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7" name="Ink 6">
                <a:extLst>
                  <a:ext uri="{FF2B5EF4-FFF2-40B4-BE49-F238E27FC236}">
                    <a16:creationId xmlns:a16="http://schemas.microsoft.com/office/drawing/2014/main" id="{7B5C03EC-D7A7-E487-BB1E-A603A020F511}"/>
                  </a:ext>
                </a:extLst>
              </p14:cNvPr>
              <p14:cNvContentPartPr/>
              <p14:nvPr/>
            </p14:nvContentPartPr>
            <p14:xfrm>
              <a:off x="915428" y="9720613"/>
              <a:ext cx="2185869" cy="210953"/>
            </p14:xfrm>
          </p:contentPart>
        </mc:Choice>
        <mc:Fallback xmlns="">
          <p:pic>
            <p:nvPicPr>
              <p:cNvPr id="7" name="Ink 6">
                <a:extLst>
                  <a:ext uri="{FF2B5EF4-FFF2-40B4-BE49-F238E27FC236}">
                    <a16:creationId xmlns:a16="http://schemas.microsoft.com/office/drawing/2014/main" id="{7B5C03EC-D7A7-E487-BB1E-A603A020F511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852440" y="9657722"/>
                <a:ext cx="2311485" cy="336375"/>
              </a:xfrm>
              <a:prstGeom prst="rect">
                <a:avLst/>
              </a:prstGeom>
            </p:spPr>
          </p:pic>
        </mc:Fallback>
      </mc:AlternateContent>
      <p:pic>
        <p:nvPicPr>
          <p:cNvPr id="8" name="Picture 7">
            <a:extLst>
              <a:ext uri="{FF2B5EF4-FFF2-40B4-BE49-F238E27FC236}">
                <a16:creationId xmlns:a16="http://schemas.microsoft.com/office/drawing/2014/main" id="{025CB33F-66BD-7766-393F-E3D40047BFD0}"/>
              </a:ext>
            </a:extLst>
          </p:cNvPr>
          <p:cNvPicPr>
            <a:picLocks noGrp="1" noChangeAspect="1"/>
          </p:cNvPicPr>
          <p:nvPr/>
        </p:nvPicPr>
        <p:blipFill>
          <a:blip r:embed="rId4"/>
          <a:srcRect l="20370" r="20370"/>
          <a:stretch>
            <a:fillRect/>
          </a:stretch>
        </p:blipFill>
        <p:spPr>
          <a:xfrm>
            <a:off x="9144000" y="6375"/>
            <a:ext cx="9144000" cy="10287000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00BA605-8681-1F49-1A11-D066853DB249}"/>
              </a:ext>
            </a:extLst>
          </p:cNvPr>
          <p:cNvSpPr>
            <a:spLocks noGrp="1"/>
          </p:cNvSpPr>
          <p:nvPr/>
        </p:nvSpPr>
        <p:spPr>
          <a:xfrm>
            <a:off x="919075" y="3729318"/>
            <a:ext cx="7529186" cy="58718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sz="3600" b="0" i="0" u="none" strike="noStrike" cap="none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marR="0" lvl="1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○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■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marR="0" lvl="3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●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marR="0" lvl="4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○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marR="0" lvl="5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■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marR="0" lvl="6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●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marR="0" lvl="7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○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marR="0" lvl="8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■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pPr>
              <a:defRPr sz="3600">
                <a:latin typeface="Roboto"/>
              </a:defRPr>
            </a:pPr>
            <a:r>
              <a:rPr dirty="0">
                <a:ea typeface="Calibri"/>
                <a:cs typeface="Calibri"/>
              </a:rPr>
              <a:t>Designed to perform a wide variety of tasks.</a:t>
            </a:r>
          </a:p>
          <a:p>
            <a:pPr>
              <a:defRPr sz="3600">
                <a:latin typeface="Roboto"/>
              </a:defRPr>
            </a:pPr>
            <a:r>
              <a:rPr dirty="0">
                <a:ea typeface="Calibri"/>
                <a:cs typeface="Calibri"/>
              </a:rPr>
              <a:t>Examples include personal computers and </a:t>
            </a:r>
            <a:r>
              <a:rPr lang="en-US" dirty="0">
                <a:ea typeface="Calibri"/>
                <a:cs typeface="Calibri"/>
              </a:rPr>
              <a:t>mobiles</a:t>
            </a:r>
            <a:r>
              <a:rPr dirty="0">
                <a:ea typeface="Calibri"/>
                <a:cs typeface="Calibri"/>
              </a:rPr>
              <a:t>.</a:t>
            </a:r>
          </a:p>
          <a:p>
            <a:pPr>
              <a:defRPr sz="3600">
                <a:latin typeface="Roboto"/>
              </a:defRPr>
            </a:pPr>
            <a:r>
              <a:rPr dirty="0">
                <a:ea typeface="Calibri"/>
                <a:cs typeface="Calibri"/>
              </a:rPr>
              <a:t>Can run different types of software for various applications.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9F43D82B-184E-8087-BCA2-EEBDFE26D080}"/>
              </a:ext>
            </a:extLst>
          </p:cNvPr>
          <p:cNvSpPr>
            <a:spLocks noGrp="1"/>
          </p:cNvSpPr>
          <p:nvPr/>
        </p:nvSpPr>
        <p:spPr>
          <a:xfrm>
            <a:off x="919163" y="2263775"/>
            <a:ext cx="7529186" cy="14655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00"/>
              <a:buFont typeface="Calibri"/>
              <a:buNone/>
              <a:defRPr sz="4600" b="0" i="0" u="none" strike="noStrike" cap="none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 sz="4600">
                <a:solidFill>
                  <a:srgbClr val="004085"/>
                </a:solidFill>
                <a:latin typeface="Roboto"/>
              </a:defRPr>
            </a:pPr>
            <a:r>
              <a:t>General-Purpose Computers</a:t>
            </a:r>
          </a:p>
        </p:txBody>
      </p:sp>
    </p:spTree>
    <p:extLst>
      <p:ext uri="{BB962C8B-B14F-4D97-AF65-F5344CB8AC3E}">
        <p14:creationId xmlns:p14="http://schemas.microsoft.com/office/powerpoint/2010/main" val="12542935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jXd2FSvcRr8.jp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l="20370" r="20370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Roboto"/>
              </a:defRPr>
            </a:pPr>
            <a:r>
              <a:t>Desktop and laptop computers</a:t>
            </a:r>
          </a:p>
          <a:p>
            <a:pPr>
              <a:defRPr sz="3600">
                <a:latin typeface="Roboto"/>
              </a:defRPr>
            </a:pPr>
            <a:r>
              <a:t>Used for personal tasks, gaming, and work</a:t>
            </a:r>
          </a:p>
          <a:p>
            <a:pPr>
              <a:defRPr sz="3600">
                <a:latin typeface="Roboto"/>
              </a:defRPr>
            </a:pPr>
            <a:r>
              <a:t>Examples: Windows PCs, MacBooks, Chromebook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4085"/>
                </a:solidFill>
                <a:latin typeface="Roboto"/>
              </a:defRPr>
            </a:pPr>
            <a:r>
              <a:t>Personal Computers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7" name="Ink 6">
                <a:extLst>
                  <a:ext uri="{FF2B5EF4-FFF2-40B4-BE49-F238E27FC236}">
                    <a16:creationId xmlns:a16="http://schemas.microsoft.com/office/drawing/2014/main" id="{61013392-51C7-FC93-978B-D5DD2BCCB8D4}"/>
                  </a:ext>
                </a:extLst>
              </p14:cNvPr>
              <p14:cNvContentPartPr/>
              <p14:nvPr/>
            </p14:nvContentPartPr>
            <p14:xfrm>
              <a:off x="-331475" y="9466059"/>
              <a:ext cx="3928219" cy="436884"/>
            </p14:xfrm>
          </p:contentPart>
        </mc:Choice>
        <mc:Fallback xmlns="">
          <p:pic>
            <p:nvPicPr>
              <p:cNvPr id="7" name="Ink 6">
                <a:extLst>
                  <a:ext uri="{FF2B5EF4-FFF2-40B4-BE49-F238E27FC236}">
                    <a16:creationId xmlns:a16="http://schemas.microsoft.com/office/drawing/2014/main" id="{61013392-51C7-FC93-978B-D5DD2BCCB8D4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349475" y="9448080"/>
                <a:ext cx="3963858" cy="472482"/>
              </a:xfrm>
              <a:prstGeom prst="rect">
                <a:avLst/>
              </a:prstGeom>
            </p:spPr>
          </p:pic>
        </mc:Fallback>
      </mc:AlternateContent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69545EC9-E850-08A0-865E-B607FD3588C2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7" name="Ink 6">
                <a:extLst>
                  <a:ext uri="{FF2B5EF4-FFF2-40B4-BE49-F238E27FC236}">
                    <a16:creationId xmlns:a16="http://schemas.microsoft.com/office/drawing/2014/main" id="{8DB62621-426E-5B34-F9A8-2158B96D893A}"/>
                  </a:ext>
                </a:extLst>
              </p14:cNvPr>
              <p14:cNvContentPartPr/>
              <p14:nvPr/>
            </p14:nvContentPartPr>
            <p14:xfrm>
              <a:off x="-250402" y="9413280"/>
              <a:ext cx="3990778" cy="397388"/>
            </p14:xfrm>
          </p:contentPart>
        </mc:Choice>
        <mc:Fallback xmlns="">
          <p:pic>
            <p:nvPicPr>
              <p:cNvPr id="7" name="Ink 6">
                <a:extLst>
                  <a:ext uri="{FF2B5EF4-FFF2-40B4-BE49-F238E27FC236}">
                    <a16:creationId xmlns:a16="http://schemas.microsoft.com/office/drawing/2014/main" id="{8DB62621-426E-5B34-F9A8-2158B96D893A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-313399" y="9350345"/>
                <a:ext cx="4116412" cy="522898"/>
              </a:xfrm>
              <a:prstGeom prst="rect">
                <a:avLst/>
              </a:prstGeom>
            </p:spPr>
          </p:pic>
        </mc:Fallback>
      </mc:AlternateContent>
      <p:sp>
        <p:nvSpPr>
          <p:cNvPr id="8" name="TextBox 7">
            <a:extLst>
              <a:ext uri="{FF2B5EF4-FFF2-40B4-BE49-F238E27FC236}">
                <a16:creationId xmlns:a16="http://schemas.microsoft.com/office/drawing/2014/main" id="{26E28280-5ECA-447F-8A8C-B49BC89BDA42}"/>
              </a:ext>
            </a:extLst>
          </p:cNvPr>
          <p:cNvSpPr txBox="1"/>
          <p:nvPr/>
        </p:nvSpPr>
        <p:spPr>
          <a:xfrm>
            <a:off x="1226127" y="1766454"/>
            <a:ext cx="5839690" cy="80021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4600" dirty="0">
                <a:solidFill>
                  <a:schemeClr val="bg2">
                    <a:lumMod val="76000"/>
                  </a:schemeClr>
                </a:solidFill>
                <a:latin typeface="Roboto"/>
              </a:rPr>
              <a:t>Handheld Devices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10" name="Ink 9">
                <a:extLst>
                  <a:ext uri="{FF2B5EF4-FFF2-40B4-BE49-F238E27FC236}">
                    <a16:creationId xmlns:a16="http://schemas.microsoft.com/office/drawing/2014/main" id="{B3C8A073-0D52-2587-CDD6-63AAB0862192}"/>
                  </a:ext>
                </a:extLst>
              </p14:cNvPr>
              <p14:cNvContentPartPr/>
              <p14:nvPr/>
            </p14:nvContentPartPr>
            <p14:xfrm>
              <a:off x="2218396" y="9534258"/>
              <a:ext cx="1005700" cy="402642"/>
            </p14:xfrm>
          </p:contentPart>
        </mc:Choice>
        <mc:Fallback xmlns="">
          <p:pic>
            <p:nvPicPr>
              <p:cNvPr id="10" name="Ink 9">
                <a:extLst>
                  <a:ext uri="{FF2B5EF4-FFF2-40B4-BE49-F238E27FC236}">
                    <a16:creationId xmlns:a16="http://schemas.microsoft.com/office/drawing/2014/main" id="{B3C8A073-0D52-2587-CDD6-63AAB0862192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2155787" y="9471289"/>
                <a:ext cx="1131278" cy="5282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11" name="Ink 10">
                <a:extLst>
                  <a:ext uri="{FF2B5EF4-FFF2-40B4-BE49-F238E27FC236}">
                    <a16:creationId xmlns:a16="http://schemas.microsoft.com/office/drawing/2014/main" id="{53B81D5D-2C16-D0AA-156B-2CC699686A9F}"/>
                  </a:ext>
                </a:extLst>
              </p14:cNvPr>
              <p14:cNvContentPartPr/>
              <p14:nvPr/>
            </p14:nvContentPartPr>
            <p14:xfrm>
              <a:off x="547861" y="9749671"/>
              <a:ext cx="2788767" cy="121692"/>
            </p14:xfrm>
          </p:contentPart>
        </mc:Choice>
        <mc:Fallback xmlns="">
          <p:pic>
            <p:nvPicPr>
              <p:cNvPr id="11" name="Ink 10">
                <a:extLst>
                  <a:ext uri="{FF2B5EF4-FFF2-40B4-BE49-F238E27FC236}">
                    <a16:creationId xmlns:a16="http://schemas.microsoft.com/office/drawing/2014/main" id="{53B81D5D-2C16-D0AA-156B-2CC699686A9F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85233" y="9687210"/>
                <a:ext cx="2914384" cy="246974"/>
              </a:xfrm>
              <a:prstGeom prst="rect">
                <a:avLst/>
              </a:prstGeom>
            </p:spPr>
          </p:pic>
        </mc:Fallback>
      </mc:AlternateContent>
      <p:sp>
        <p:nvSpPr>
          <p:cNvPr id="12" name="TextBox 11">
            <a:extLst>
              <a:ext uri="{FF2B5EF4-FFF2-40B4-BE49-F238E27FC236}">
                <a16:creationId xmlns:a16="http://schemas.microsoft.com/office/drawing/2014/main" id="{0FA862DC-AC53-E1E4-464F-0BAB263830A9}"/>
              </a:ext>
            </a:extLst>
          </p:cNvPr>
          <p:cNvSpPr txBox="1"/>
          <p:nvPr/>
        </p:nvSpPr>
        <p:spPr>
          <a:xfrm>
            <a:off x="1226126" y="3345872"/>
            <a:ext cx="6691745" cy="507831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Char char="•"/>
            </a:pPr>
            <a:r>
              <a:rPr lang="en-US" sz="3600" dirty="0">
                <a:latin typeface="Roboto"/>
              </a:rPr>
              <a:t>Touchscreen interfaces</a:t>
            </a:r>
            <a:endParaRPr lang="en-US"/>
          </a:p>
          <a:p>
            <a:pPr marL="285750" indent="-285750">
              <a:buChar char="•"/>
            </a:pPr>
            <a:r>
              <a:rPr lang="en-US" sz="3600" dirty="0">
                <a:latin typeface="Roboto"/>
              </a:rPr>
              <a:t>Portability and battery life</a:t>
            </a:r>
          </a:p>
          <a:p>
            <a:pPr>
              <a:buChar char="•"/>
            </a:pPr>
            <a:r>
              <a:rPr lang="en-US" sz="3600" dirty="0">
                <a:latin typeface="Roboto"/>
              </a:rPr>
              <a:t> Communication</a:t>
            </a:r>
          </a:p>
          <a:p>
            <a:pPr>
              <a:buChar char="•"/>
            </a:pPr>
            <a:r>
              <a:rPr lang="en-US" sz="3600" dirty="0">
                <a:latin typeface="Roboto"/>
              </a:rPr>
              <a:t> Entertainment </a:t>
            </a:r>
            <a:endParaRPr lang="en-US" dirty="0"/>
          </a:p>
          <a:p>
            <a:pPr>
              <a:buChar char="•"/>
            </a:pPr>
            <a:r>
              <a:rPr lang="en-US" sz="3600" dirty="0">
                <a:latin typeface="Roboto"/>
              </a:rPr>
              <a:t> Productivity </a:t>
            </a:r>
          </a:p>
          <a:p>
            <a:pPr>
              <a:buChar char="•"/>
            </a:pPr>
            <a:r>
              <a:rPr lang="en-US" sz="3600" dirty="0">
                <a:latin typeface="Roboto"/>
              </a:rPr>
              <a:t> Examples: Smartphones,                   </a:t>
            </a:r>
            <a:r>
              <a:rPr lang="en-US" sz="3600">
                <a:latin typeface="Roboto"/>
              </a:rPr>
              <a:t>Tablets, Wearable technology  </a:t>
            </a:r>
            <a:r>
              <a:rPr lang="en-US" sz="3600" dirty="0">
                <a:latin typeface="Roboto"/>
              </a:rPr>
              <a:t>(smartwatches)</a:t>
            </a:r>
          </a:p>
          <a:p>
            <a:pPr marL="285750" indent="-285750">
              <a:buChar char="•"/>
            </a:pPr>
            <a:endParaRPr lang="en-US" sz="3600" dirty="0">
              <a:latin typeface="Roboto"/>
            </a:endParaRPr>
          </a:p>
        </p:txBody>
      </p:sp>
      <p:pic>
        <p:nvPicPr>
          <p:cNvPr id="13" name="Picture 12" descr="Businessman text messaging">
            <a:extLst>
              <a:ext uri="{FF2B5EF4-FFF2-40B4-BE49-F238E27FC236}">
                <a16:creationId xmlns:a16="http://schemas.microsoft.com/office/drawing/2014/main" id="{70C8A7BB-CF22-0C89-98FA-BA77BD1F302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01000" y="4810"/>
            <a:ext cx="10287000" cy="10277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45853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Roboto"/>
              </a:defRPr>
            </a:pPr>
            <a:r>
              <a:t>High-performance computers for technical or scientific applications</a:t>
            </a:r>
          </a:p>
          <a:p>
            <a:pPr>
              <a:defRPr sz="3600">
                <a:latin typeface="Roboto"/>
              </a:defRPr>
            </a:pPr>
            <a:r>
              <a:t>Used by engineers, architects, and designers</a:t>
            </a:r>
          </a:p>
          <a:p>
            <a:pPr>
              <a:defRPr sz="3600">
                <a:latin typeface="Roboto"/>
              </a:defRPr>
            </a:pPr>
            <a:r>
              <a:t>More powerful than standard PC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879496" y="2250167"/>
            <a:ext cx="7489429" cy="1444675"/>
          </a:xfrm>
        </p:spPr>
        <p:txBody>
          <a:bodyPr/>
          <a:lstStyle/>
          <a:p>
            <a:pPr>
              <a:defRPr sz="4600">
                <a:solidFill>
                  <a:srgbClr val="004085"/>
                </a:solidFill>
                <a:latin typeface="Roboto"/>
              </a:defRPr>
            </a:pPr>
            <a:r>
              <a:t>Workstations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9" name="Ink 8">
                <a:extLst>
                  <a:ext uri="{FF2B5EF4-FFF2-40B4-BE49-F238E27FC236}">
                    <a16:creationId xmlns:a16="http://schemas.microsoft.com/office/drawing/2014/main" id="{B1BEC712-932F-BF6C-2994-C4E8FB921910}"/>
                  </a:ext>
                </a:extLst>
              </p14:cNvPr>
              <p14:cNvContentPartPr/>
              <p14:nvPr/>
            </p14:nvContentPartPr>
            <p14:xfrm>
              <a:off x="12053454" y="4482935"/>
              <a:ext cx="14844" cy="14844"/>
            </p14:xfrm>
          </p:contentPart>
        </mc:Choice>
        <mc:Fallback xmlns="">
          <p:pic>
            <p:nvPicPr>
              <p:cNvPr id="9" name="Ink 8">
                <a:extLst>
                  <a:ext uri="{FF2B5EF4-FFF2-40B4-BE49-F238E27FC236}">
                    <a16:creationId xmlns:a16="http://schemas.microsoft.com/office/drawing/2014/main" id="{B1BEC712-932F-BF6C-2994-C4E8FB921910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9455754" y="1885235"/>
                <a:ext cx="5195400" cy="51954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10" name="Ink 9">
                <a:extLst>
                  <a:ext uri="{FF2B5EF4-FFF2-40B4-BE49-F238E27FC236}">
                    <a16:creationId xmlns:a16="http://schemas.microsoft.com/office/drawing/2014/main" id="{A129EDBC-2313-E4B2-5E29-02CB3EEA6D4D}"/>
                  </a:ext>
                </a:extLst>
              </p14:cNvPr>
              <p14:cNvContentPartPr/>
              <p14:nvPr/>
            </p14:nvContentPartPr>
            <p14:xfrm>
              <a:off x="13077701" y="4408714"/>
              <a:ext cx="14844" cy="14844"/>
            </p14:xfrm>
          </p:contentPart>
        </mc:Choice>
        <mc:Fallback xmlns="">
          <p:pic>
            <p:nvPicPr>
              <p:cNvPr id="10" name="Ink 9">
                <a:extLst>
                  <a:ext uri="{FF2B5EF4-FFF2-40B4-BE49-F238E27FC236}">
                    <a16:creationId xmlns:a16="http://schemas.microsoft.com/office/drawing/2014/main" id="{A129EDBC-2313-E4B2-5E29-02CB3EEA6D4D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0480001" y="1811014"/>
                <a:ext cx="5195400" cy="5195400"/>
              </a:xfrm>
              <a:prstGeom prst="rect">
                <a:avLst/>
              </a:prstGeom>
            </p:spPr>
          </p:pic>
        </mc:Fallback>
      </mc:AlternateContent>
      <p:pic>
        <p:nvPicPr>
          <p:cNvPr id="19" name="Picture 18" descr="A person sitting at a desk with multiple computer screens&#10;&#10;Description automatically generated">
            <a:extLst>
              <a:ext uri="{FF2B5EF4-FFF2-40B4-BE49-F238E27FC236}">
                <a16:creationId xmlns:a16="http://schemas.microsoft.com/office/drawing/2014/main" id="{A9123C8D-2264-AD30-7FE7-66CF297D776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946" y="966356"/>
            <a:ext cx="8738753" cy="7953498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20" name="Ink 19">
                <a:extLst>
                  <a:ext uri="{FF2B5EF4-FFF2-40B4-BE49-F238E27FC236}">
                    <a16:creationId xmlns:a16="http://schemas.microsoft.com/office/drawing/2014/main" id="{0A51A899-03AB-1906-5001-2EB8A30A3D1E}"/>
                  </a:ext>
                </a:extLst>
              </p14:cNvPr>
              <p14:cNvContentPartPr/>
              <p14:nvPr/>
            </p14:nvContentPartPr>
            <p14:xfrm>
              <a:off x="585422" y="9631867"/>
              <a:ext cx="2799708" cy="211450"/>
            </p14:xfrm>
          </p:contentPart>
        </mc:Choice>
        <mc:Fallback xmlns="">
          <p:pic>
            <p:nvPicPr>
              <p:cNvPr id="20" name="Ink 19">
                <a:extLst>
                  <a:ext uri="{FF2B5EF4-FFF2-40B4-BE49-F238E27FC236}">
                    <a16:creationId xmlns:a16="http://schemas.microsoft.com/office/drawing/2014/main" id="{0A51A899-03AB-1906-5001-2EB8A30A3D1E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22430" y="9568935"/>
                <a:ext cx="2925331" cy="336953"/>
              </a:xfrm>
              <a:prstGeom prst="rect">
                <a:avLst/>
              </a:prstGeom>
            </p:spPr>
          </p:pic>
        </mc:Fallback>
      </mc:AlternateContent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7" name="Ink 6">
                <a:extLst>
                  <a:ext uri="{FF2B5EF4-FFF2-40B4-BE49-F238E27FC236}">
                    <a16:creationId xmlns:a16="http://schemas.microsoft.com/office/drawing/2014/main" id="{3387E203-0245-F6CF-1CFB-35403AFF83DE}"/>
                  </a:ext>
                </a:extLst>
              </p14:cNvPr>
              <p14:cNvContentPartPr/>
              <p14:nvPr/>
            </p14:nvContentPartPr>
            <p14:xfrm>
              <a:off x="545345" y="9677742"/>
              <a:ext cx="2950835" cy="195023"/>
            </p14:xfrm>
          </p:contentPart>
        </mc:Choice>
        <mc:Fallback xmlns="">
          <p:pic>
            <p:nvPicPr>
              <p:cNvPr id="7" name="Ink 6">
                <a:extLst>
                  <a:ext uri="{FF2B5EF4-FFF2-40B4-BE49-F238E27FC236}">
                    <a16:creationId xmlns:a16="http://schemas.microsoft.com/office/drawing/2014/main" id="{3387E203-0245-F6CF-1CFB-35403AFF83DE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82354" y="9614889"/>
                <a:ext cx="3076456" cy="320369"/>
              </a:xfrm>
              <a:prstGeom prst="rect">
                <a:avLst/>
              </a:prstGeom>
            </p:spPr>
          </p:pic>
        </mc:Fallback>
      </mc:AlternateContent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F6C3AFB-B634-51C4-80C9-142B71C6C5AC}"/>
              </a:ext>
            </a:extLst>
          </p:cNvPr>
          <p:cNvSpPr>
            <a:spLocks noGrp="1"/>
          </p:cNvSpPr>
          <p:nvPr/>
        </p:nvSpPr>
        <p:spPr>
          <a:xfrm>
            <a:off x="9879496" y="3708450"/>
            <a:ext cx="7489429" cy="58927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sz="3600" b="0" i="0" u="none" strike="noStrike" cap="none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marR="0" lvl="1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○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■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marR="0" lvl="3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●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marR="0" lvl="4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○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marR="0" lvl="5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■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marR="0" lvl="6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●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marR="0" lvl="7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○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marR="0" lvl="8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■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pPr>
              <a:defRPr sz="3600">
                <a:latin typeface="Roboto"/>
              </a:defRPr>
            </a:pPr>
            <a:r>
              <a:t>Built for specific tasks or operations.</a:t>
            </a:r>
          </a:p>
          <a:p>
            <a:pPr>
              <a:defRPr sz="3600">
                <a:latin typeface="Roboto"/>
              </a:defRPr>
            </a:pPr>
            <a:r>
              <a:t>Examples include ATMs, embedded systems in cars, and gaming consoles.</a:t>
            </a:r>
          </a:p>
          <a:p>
            <a:pPr>
              <a:defRPr sz="3600">
                <a:latin typeface="Roboto"/>
              </a:defRPr>
            </a:pPr>
            <a:r>
              <a:t>Highly optimized for the function they are intended to perform.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7E5F1526-8B22-2D0C-E338-04DB49C3C400}"/>
              </a:ext>
            </a:extLst>
          </p:cNvPr>
          <p:cNvSpPr>
            <a:spLocks noGrp="1"/>
          </p:cNvSpPr>
          <p:nvPr/>
        </p:nvSpPr>
        <p:spPr>
          <a:xfrm>
            <a:off x="9879496" y="2263774"/>
            <a:ext cx="7489429" cy="1444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00"/>
              <a:buFont typeface="Calibri"/>
              <a:buNone/>
              <a:defRPr sz="4600" b="0" i="0" u="none" strike="noStrike" cap="none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 sz="4600">
                <a:solidFill>
                  <a:srgbClr val="004085"/>
                </a:solidFill>
                <a:latin typeface="Roboto"/>
              </a:defRPr>
            </a:pPr>
            <a:r>
              <a:t>Special-Purpose Computers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12" name="Ink 11">
                <a:extLst>
                  <a:ext uri="{FF2B5EF4-FFF2-40B4-BE49-F238E27FC236}">
                    <a16:creationId xmlns:a16="http://schemas.microsoft.com/office/drawing/2014/main" id="{61828190-A301-A73E-0197-9A4473224616}"/>
                  </a:ext>
                </a:extLst>
              </p14:cNvPr>
              <p14:cNvContentPartPr/>
              <p14:nvPr/>
            </p14:nvContentPartPr>
            <p14:xfrm>
              <a:off x="18866922" y="1840675"/>
              <a:ext cx="14844" cy="14844"/>
            </p14:xfrm>
          </p:contentPart>
        </mc:Choice>
        <mc:Fallback xmlns="">
          <p:pic>
            <p:nvPicPr>
              <p:cNvPr id="12" name="Ink 11">
                <a:extLst>
                  <a:ext uri="{FF2B5EF4-FFF2-40B4-BE49-F238E27FC236}">
                    <a16:creationId xmlns:a16="http://schemas.microsoft.com/office/drawing/2014/main" id="{61828190-A301-A73E-0197-9A4473224616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6269222" y="-757025"/>
                <a:ext cx="5195400" cy="5195400"/>
              </a:xfrm>
              <a:prstGeom prst="rect">
                <a:avLst/>
              </a:prstGeom>
            </p:spPr>
          </p:pic>
        </mc:Fallback>
      </mc:AlternateContent>
      <p:pic>
        <p:nvPicPr>
          <p:cNvPr id="13" name="Picture 12" descr="A green atm machine with a screen">
            <a:extLst>
              <a:ext uri="{FF2B5EF4-FFF2-40B4-BE49-F238E27FC236}">
                <a16:creationId xmlns:a16="http://schemas.microsoft.com/office/drawing/2014/main" id="{D808768E-3B00-2015-2024-6CF338E90AB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2474" y="985093"/>
            <a:ext cx="9443357" cy="8170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0247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ZYb_fGvNndA.jp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21820" b="21820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7037" y="3907171"/>
            <a:ext cx="4906513" cy="4883786"/>
          </a:xfrm>
        </p:spPr>
        <p:txBody>
          <a:bodyPr>
            <a:normAutofit fontScale="92500"/>
          </a:bodyPr>
          <a:lstStyle/>
          <a:p>
            <a:pPr>
              <a:defRPr sz="3600">
                <a:latin typeface="Roboto"/>
              </a:defRPr>
            </a:pPr>
            <a:r>
              <a:t>Large, powerful systems for handling vast amounts of data</a:t>
            </a:r>
          </a:p>
          <a:p>
            <a:pPr>
              <a:defRPr sz="3600">
                <a:latin typeface="Roboto"/>
              </a:defRPr>
            </a:pPr>
            <a:r>
              <a:t>Used by governments and large corporations</a:t>
            </a:r>
          </a:p>
          <a:p>
            <a:pPr>
              <a:defRPr sz="3600">
                <a:latin typeface="Roboto"/>
              </a:defRPr>
            </a:pPr>
            <a:r>
              <a:t>Focus on reliability, stability, and large-scale transaction processing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9075" y="1882775"/>
            <a:ext cx="4624475" cy="2146859"/>
          </a:xfrm>
        </p:spPr>
        <p:txBody>
          <a:bodyPr/>
          <a:lstStyle/>
          <a:p>
            <a:pPr>
              <a:defRPr sz="4600">
                <a:solidFill>
                  <a:srgbClr val="004085"/>
                </a:solidFill>
                <a:latin typeface="Roboto"/>
              </a:defRPr>
            </a:pPr>
            <a:r>
              <a:t>Mainframe Computers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7" name="Ink 6">
                <a:extLst>
                  <a:ext uri="{FF2B5EF4-FFF2-40B4-BE49-F238E27FC236}">
                    <a16:creationId xmlns:a16="http://schemas.microsoft.com/office/drawing/2014/main" id="{6797640E-D0D1-85AF-C50B-6CEC0CC06AAD}"/>
                  </a:ext>
                </a:extLst>
              </p14:cNvPr>
              <p14:cNvContentPartPr/>
              <p14:nvPr/>
            </p14:nvContentPartPr>
            <p14:xfrm>
              <a:off x="920338" y="9662088"/>
              <a:ext cx="2233810" cy="210011"/>
            </p14:xfrm>
          </p:contentPart>
        </mc:Choice>
        <mc:Fallback xmlns="">
          <p:pic>
            <p:nvPicPr>
              <p:cNvPr id="7" name="Ink 6">
                <a:extLst>
                  <a:ext uri="{FF2B5EF4-FFF2-40B4-BE49-F238E27FC236}">
                    <a16:creationId xmlns:a16="http://schemas.microsoft.com/office/drawing/2014/main" id="{6797640E-D0D1-85AF-C50B-6CEC0CC06AAD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857348" y="9599264"/>
                <a:ext cx="2359430" cy="335300"/>
              </a:xfrm>
              <a:prstGeom prst="rect">
                <a:avLst/>
              </a:prstGeom>
            </p:spPr>
          </p:pic>
        </mc:Fallback>
      </mc:AlternateContent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Roboto"/>
              </a:defRPr>
            </a:pPr>
            <a:r>
              <a:t>Fastest and most powerful computers</a:t>
            </a:r>
          </a:p>
          <a:p>
            <a:pPr>
              <a:defRPr sz="3600">
                <a:latin typeface="Roboto"/>
              </a:defRPr>
            </a:pPr>
            <a:r>
              <a:t>Used for scientific simulations, weather forecasting, and research</a:t>
            </a:r>
          </a:p>
          <a:p>
            <a:pPr>
              <a:defRPr sz="3600">
                <a:latin typeface="Roboto"/>
              </a:defRPr>
            </a:pPr>
            <a:r>
              <a:t>Example: IBM's Summit, Fujitsu's Fugaku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4085"/>
                </a:solidFill>
                <a:latin typeface="Roboto"/>
              </a:defRPr>
            </a:pPr>
            <a:r>
              <a:t>Supercomputer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5B598DB-2711-0ED7-E0AD-C3BDF8E0B3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6325" y="1068286"/>
            <a:ext cx="7491351" cy="8150428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4" name="Ink 13">
                <a:extLst>
                  <a:ext uri="{FF2B5EF4-FFF2-40B4-BE49-F238E27FC236}">
                    <a16:creationId xmlns:a16="http://schemas.microsoft.com/office/drawing/2014/main" id="{CE6F5418-A14F-326B-FB6A-6F4EB3E34FFF}"/>
                  </a:ext>
                </a:extLst>
              </p14:cNvPr>
              <p14:cNvContentPartPr/>
              <p14:nvPr/>
            </p14:nvContentPartPr>
            <p14:xfrm>
              <a:off x="502968" y="9662448"/>
              <a:ext cx="2708464" cy="254349"/>
            </p14:xfrm>
          </p:contentPart>
        </mc:Choice>
        <mc:Fallback xmlns="">
          <p:pic>
            <p:nvPicPr>
              <p:cNvPr id="14" name="Ink 13">
                <a:extLst>
                  <a:ext uri="{FF2B5EF4-FFF2-40B4-BE49-F238E27FC236}">
                    <a16:creationId xmlns:a16="http://schemas.microsoft.com/office/drawing/2014/main" id="{CE6F5418-A14F-326B-FB6A-6F4EB3E34FFF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39972" y="9599579"/>
                <a:ext cx="2834096" cy="379727"/>
              </a:xfrm>
              <a:prstGeom prst="rect">
                <a:avLst/>
              </a:prstGeom>
            </p:spPr>
          </p:pic>
        </mc:Fallback>
      </mc:AlternateContent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mart Slides v1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8500EA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Custom</PresentationFormat>
  <Slides>12</Slides>
  <Notes>0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3" baseType="lpstr">
      <vt:lpstr>Smart Slides v1</vt:lpstr>
      <vt:lpstr>Introduction to  Types of Computers</vt:lpstr>
      <vt:lpstr>PowerPoint Presentation</vt:lpstr>
      <vt:lpstr>PowerPoint Presentation</vt:lpstr>
      <vt:lpstr>Personal Computers</vt:lpstr>
      <vt:lpstr>PowerPoint Presentation</vt:lpstr>
      <vt:lpstr>Workstations</vt:lpstr>
      <vt:lpstr>PowerPoint Presentation</vt:lpstr>
      <vt:lpstr>Mainframe Computers</vt:lpstr>
      <vt:lpstr>Supercomputers</vt:lpstr>
      <vt:lpstr>Servers</vt:lpstr>
      <vt:lpstr>Embedded Systems</vt:lpstr>
      <vt:lpstr>Conclus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art Slides</dc:title>
  <cp:revision>88</cp:revision>
  <dcterms:modified xsi:type="dcterms:W3CDTF">2024-10-02T14:40:10Z</dcterms:modified>
</cp:coreProperties>
</file>